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notesSlides/notesSlide12.xml" ContentType="application/vnd.openxmlformats-officedocument.presentationml.notesSlide+xml"/>
  <Override PartName="/ppt/tags/tag15.xml" ContentType="application/vnd.openxmlformats-officedocument.presentationml.tags+xml"/>
  <Override PartName="/ppt/notesSlides/notesSlide13.xml" ContentType="application/vnd.openxmlformats-officedocument.presentationml.notesSlide+xml"/>
  <Override PartName="/ppt/tags/tag16.xml" ContentType="application/vnd.openxmlformats-officedocument.presentationml.tags+xml"/>
  <Override PartName="/ppt/notesSlides/notesSlide14.xml" ContentType="application/vnd.openxmlformats-officedocument.presentationml.notesSlide+xml"/>
  <Override PartName="/ppt/tags/tag17.xml" ContentType="application/vnd.openxmlformats-officedocument.presentationml.tags+xml"/>
  <Override PartName="/ppt/notesSlides/notesSlide15.xml" ContentType="application/vnd.openxmlformats-officedocument.presentationml.notesSlide+xml"/>
  <Override PartName="/ppt/tags/tag18.xml" ContentType="application/vnd.openxmlformats-officedocument.presentationml.tags+xml"/>
  <Override PartName="/ppt/notesSlides/notesSlide16.xml" ContentType="application/vnd.openxmlformats-officedocument.presentationml.notesSlide+xml"/>
  <Override PartName="/ppt/tags/tag19.xml" ContentType="application/vnd.openxmlformats-officedocument.presentationml.tags+xml"/>
  <Override PartName="/ppt/notesSlides/notesSlide17.xml" ContentType="application/vnd.openxmlformats-officedocument.presentationml.notesSlide+xml"/>
  <Override PartName="/ppt/tags/tag20.xml" ContentType="application/vnd.openxmlformats-officedocument.presentationml.tags+xml"/>
  <Override PartName="/ppt/notesSlides/notesSlide18.xml" ContentType="application/vnd.openxmlformats-officedocument.presentationml.notesSlide+xml"/>
  <Override PartName="/ppt/tags/tag21.xml" ContentType="application/vnd.openxmlformats-officedocument.presentationml.tags+xml"/>
  <Override PartName="/ppt/notesSlides/notesSlide19.xml" ContentType="application/vnd.openxmlformats-officedocument.presentationml.notesSlide+xml"/>
  <Override PartName="/ppt/tags/tag22.xml" ContentType="application/vnd.openxmlformats-officedocument.presentationml.tags+xml"/>
  <Override PartName="/ppt/notesSlides/notesSlide20.xml" ContentType="application/vnd.openxmlformats-officedocument.presentationml.notesSlide+xml"/>
  <Override PartName="/ppt/tags/tag23.xml" ContentType="application/vnd.openxmlformats-officedocument.presentationml.tags+xml"/>
  <Override PartName="/ppt/notesSlides/notesSlide21.xml" ContentType="application/vnd.openxmlformats-officedocument.presentationml.notesSlide+xml"/>
  <Override PartName="/ppt/tags/tag24.xml" ContentType="application/vnd.openxmlformats-officedocument.presentationml.tags+xml"/>
  <Override PartName="/ppt/notesSlides/notesSlide22.xml" ContentType="application/vnd.openxmlformats-officedocument.presentationml.notesSlide+xml"/>
  <Override PartName="/ppt/tags/tag25.xml" ContentType="application/vnd.openxmlformats-officedocument.presentationml.tags+xml"/>
  <Override PartName="/ppt/notesSlides/notesSlide23.xml" ContentType="application/vnd.openxmlformats-officedocument.presentationml.notesSlide+xml"/>
  <Override PartName="/ppt/tags/tag26.xml" ContentType="application/vnd.openxmlformats-officedocument.presentationml.tags+xml"/>
  <Override PartName="/ppt/notesSlides/notesSlide24.xml" ContentType="application/vnd.openxmlformats-officedocument.presentationml.notesSlide+xml"/>
  <Override PartName="/ppt/tags/tag27.xml" ContentType="application/vnd.openxmlformats-officedocument.presentationml.tags+xml"/>
  <Override PartName="/ppt/notesSlides/notesSlide25.xml" ContentType="application/vnd.openxmlformats-officedocument.presentationml.notesSlide+xml"/>
  <Override PartName="/ppt/tags/tag28.xml" ContentType="application/vnd.openxmlformats-officedocument.presentationml.tags+xml"/>
  <Override PartName="/ppt/notesSlides/notesSlide2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5" r:id="rId5"/>
  </p:sldMasterIdLst>
  <p:notesMasterIdLst>
    <p:notesMasterId r:id="rId33"/>
  </p:notesMasterIdLst>
  <p:sldIdLst>
    <p:sldId id="9040" r:id="rId6"/>
    <p:sldId id="9070" r:id="rId7"/>
    <p:sldId id="9045" r:id="rId8"/>
    <p:sldId id="2076137379" r:id="rId9"/>
    <p:sldId id="9026" r:id="rId10"/>
    <p:sldId id="9071" r:id="rId11"/>
    <p:sldId id="9079" r:id="rId12"/>
    <p:sldId id="2076137387" r:id="rId13"/>
    <p:sldId id="2076137397" r:id="rId14"/>
    <p:sldId id="2076137388" r:id="rId15"/>
    <p:sldId id="2076137398" r:id="rId16"/>
    <p:sldId id="2076137399" r:id="rId17"/>
    <p:sldId id="2076137400" r:id="rId18"/>
    <p:sldId id="2076137393" r:id="rId19"/>
    <p:sldId id="2076137394" r:id="rId20"/>
    <p:sldId id="2076137404" r:id="rId21"/>
    <p:sldId id="2076137401" r:id="rId22"/>
    <p:sldId id="2076137395" r:id="rId23"/>
    <p:sldId id="2076137396" r:id="rId24"/>
    <p:sldId id="2076137408" r:id="rId25"/>
    <p:sldId id="2076137405" r:id="rId26"/>
    <p:sldId id="2076137402" r:id="rId27"/>
    <p:sldId id="2076137406" r:id="rId28"/>
    <p:sldId id="2076137407" r:id="rId29"/>
    <p:sldId id="2076137409" r:id="rId30"/>
    <p:sldId id="9056" r:id="rId31"/>
    <p:sldId id="9075"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racie A Chewning" initials="GAC" lastIdx="5" clrIdx="0">
    <p:extLst>
      <p:ext uri="{19B8F6BF-5375-455C-9EA6-DF929625EA0E}">
        <p15:presenceInfo xmlns:p15="http://schemas.microsoft.com/office/powerpoint/2012/main" userId="S::Gracie.A.Chewning@ey.com::9de9d667-e019-4a85-82bf-b9f50f141a0d" providerId="AD"/>
      </p:ext>
    </p:extLst>
  </p:cmAuthor>
  <p:cmAuthor id="2" name="Nate J Engel" initials="NJE" lastIdx="1" clrIdx="1">
    <p:extLst>
      <p:ext uri="{19B8F6BF-5375-455C-9EA6-DF929625EA0E}">
        <p15:presenceInfo xmlns:p15="http://schemas.microsoft.com/office/powerpoint/2012/main" userId="S::Nate.J.Engel@ey.com::ceb1fc4a-eb95-4a90-b3f7-3b6e871c5963" providerId="AD"/>
      </p:ext>
    </p:extLst>
  </p:cmAuthor>
  <p:cmAuthor id="3" name="Cheryl Fang" initials="CF" lastIdx="5" clrIdx="2">
    <p:extLst>
      <p:ext uri="{19B8F6BF-5375-455C-9EA6-DF929625EA0E}">
        <p15:presenceInfo xmlns:p15="http://schemas.microsoft.com/office/powerpoint/2012/main" userId="S::cheryl.fang_ey.com#ext#@ncconnect.onmicrosoft.com::449290d6-2f6c-4022-b1f6-c8d2a84a49db" providerId="AD"/>
      </p:ext>
    </p:extLst>
  </p:cmAuthor>
  <p:cmAuthor id="4" name="Maclaren-Hall, Jerilyn" initials="MJ" lastIdx="9" clrIdx="3">
    <p:extLst>
      <p:ext uri="{19B8F6BF-5375-455C-9EA6-DF929625EA0E}">
        <p15:presenceInfo xmlns:p15="http://schemas.microsoft.com/office/powerpoint/2012/main" userId="S::j.m.maclaren-hall@accenture.com::9a1f7aff-8a73-4de1-9779-572b1541991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646464"/>
    <a:srgbClr val="F5F5F5"/>
    <a:srgbClr val="00437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0056097-E2DC-43D6-8FE8-D2849467D502}" v="82" dt="2021-02-01T16:40:25.158"/>
    <p1510:client id="{1535335A-C5BF-4195-8266-E208BF6BF1DA}" v="6" dt="2021-02-02T01:07:13.533"/>
    <p1510:client id="{D900D039-E41E-4A86-B10C-9A20AEADBFF1}" v="3435" dt="2021-02-01T17:05:15.44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8" d="100"/>
          <a:sy n="108" d="100"/>
        </p:scale>
        <p:origin x="678"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rystel Leonidas" userId="4c0ff1e3-c20c-42ea-85f9-0bda986f3971" providerId="ADAL" clId="{1535335A-C5BF-4195-8266-E208BF6BF1DA}"/>
    <pc:docChg chg="custSel addSld delSld modSld">
      <pc:chgData name="Crystel Leonidas" userId="4c0ff1e3-c20c-42ea-85f9-0bda986f3971" providerId="ADAL" clId="{1535335A-C5BF-4195-8266-E208BF6BF1DA}" dt="2021-02-02T01:08:04.320" v="157" actId="688"/>
      <pc:docMkLst>
        <pc:docMk/>
      </pc:docMkLst>
      <pc:sldChg chg="modSp">
        <pc:chgData name="Crystel Leonidas" userId="4c0ff1e3-c20c-42ea-85f9-0bda986f3971" providerId="ADAL" clId="{1535335A-C5BF-4195-8266-E208BF6BF1DA}" dt="2021-01-28T20:29:18.318" v="116" actId="20577"/>
        <pc:sldMkLst>
          <pc:docMk/>
          <pc:sldMk cId="3119417520" sldId="9026"/>
        </pc:sldMkLst>
        <pc:spChg chg="mod">
          <ac:chgData name="Crystel Leonidas" userId="4c0ff1e3-c20c-42ea-85f9-0bda986f3971" providerId="ADAL" clId="{1535335A-C5BF-4195-8266-E208BF6BF1DA}" dt="2021-01-28T20:28:36.572" v="81" actId="20577"/>
          <ac:spMkLst>
            <pc:docMk/>
            <pc:sldMk cId="3119417520" sldId="9026"/>
            <ac:spMk id="123" creationId="{01016452-DFF5-49DD-8809-5155B0959C35}"/>
          </ac:spMkLst>
        </pc:spChg>
        <pc:spChg chg="mod">
          <ac:chgData name="Crystel Leonidas" userId="4c0ff1e3-c20c-42ea-85f9-0bda986f3971" providerId="ADAL" clId="{1535335A-C5BF-4195-8266-E208BF6BF1DA}" dt="2021-01-28T20:29:18.318" v="116" actId="20577"/>
          <ac:spMkLst>
            <pc:docMk/>
            <pc:sldMk cId="3119417520" sldId="9026"/>
            <ac:spMk id="142" creationId="{5F7B6FE6-0610-4289-B121-88E38F3563FD}"/>
          </ac:spMkLst>
        </pc:spChg>
      </pc:sldChg>
      <pc:sldChg chg="modSp">
        <pc:chgData name="Crystel Leonidas" userId="4c0ff1e3-c20c-42ea-85f9-0bda986f3971" providerId="ADAL" clId="{1535335A-C5BF-4195-8266-E208BF6BF1DA}" dt="2021-01-28T20:16:46.931" v="16" actId="14100"/>
        <pc:sldMkLst>
          <pc:docMk/>
          <pc:sldMk cId="24598589" sldId="9040"/>
        </pc:sldMkLst>
        <pc:spChg chg="mod">
          <ac:chgData name="Crystel Leonidas" userId="4c0ff1e3-c20c-42ea-85f9-0bda986f3971" providerId="ADAL" clId="{1535335A-C5BF-4195-8266-E208BF6BF1DA}" dt="2021-01-28T20:16:46.931" v="16" actId="14100"/>
          <ac:spMkLst>
            <pc:docMk/>
            <pc:sldMk cId="24598589" sldId="9040"/>
            <ac:spMk id="2" creationId="{BC00BD3B-220C-784F-A2E2-B8BF525AC13A}"/>
          </ac:spMkLst>
        </pc:spChg>
      </pc:sldChg>
      <pc:sldChg chg="modSp">
        <pc:chgData name="Crystel Leonidas" userId="4c0ff1e3-c20c-42ea-85f9-0bda986f3971" providerId="ADAL" clId="{1535335A-C5BF-4195-8266-E208BF6BF1DA}" dt="2021-01-28T20:27:39.644" v="77" actId="20577"/>
        <pc:sldMkLst>
          <pc:docMk/>
          <pc:sldMk cId="1789405769" sldId="2076137379"/>
        </pc:sldMkLst>
        <pc:spChg chg="mod">
          <ac:chgData name="Crystel Leonidas" userId="4c0ff1e3-c20c-42ea-85f9-0bda986f3971" providerId="ADAL" clId="{1535335A-C5BF-4195-8266-E208BF6BF1DA}" dt="2021-01-28T20:23:19.150" v="42" actId="20577"/>
          <ac:spMkLst>
            <pc:docMk/>
            <pc:sldMk cId="1789405769" sldId="2076137379"/>
            <ac:spMk id="25" creationId="{6227318E-3AE6-468E-9E55-350B0DB33695}"/>
          </ac:spMkLst>
        </pc:spChg>
        <pc:spChg chg="mod">
          <ac:chgData name="Crystel Leonidas" userId="4c0ff1e3-c20c-42ea-85f9-0bda986f3971" providerId="ADAL" clId="{1535335A-C5BF-4195-8266-E208BF6BF1DA}" dt="2021-01-28T20:27:39.644" v="77" actId="20577"/>
          <ac:spMkLst>
            <pc:docMk/>
            <pc:sldMk cId="1789405769" sldId="2076137379"/>
            <ac:spMk id="27" creationId="{C24F804B-AE48-4EE4-AE60-79EF315B1F8E}"/>
          </ac:spMkLst>
        </pc:spChg>
      </pc:sldChg>
      <pc:sldChg chg="modSp">
        <pc:chgData name="Crystel Leonidas" userId="4c0ff1e3-c20c-42ea-85f9-0bda986f3971" providerId="ADAL" clId="{1535335A-C5BF-4195-8266-E208BF6BF1DA}" dt="2021-01-28T20:32:33.548" v="129" actId="20577"/>
        <pc:sldMkLst>
          <pc:docMk/>
          <pc:sldMk cId="552563287" sldId="2076137388"/>
        </pc:sldMkLst>
        <pc:spChg chg="mod">
          <ac:chgData name="Crystel Leonidas" userId="4c0ff1e3-c20c-42ea-85f9-0bda986f3971" providerId="ADAL" clId="{1535335A-C5BF-4195-8266-E208BF6BF1DA}" dt="2021-01-28T20:32:33.548" v="129" actId="20577"/>
          <ac:spMkLst>
            <pc:docMk/>
            <pc:sldMk cId="552563287" sldId="2076137388"/>
            <ac:spMk id="21" creationId="{97484700-38C9-49CC-AFE3-401E5C2E2E73}"/>
          </ac:spMkLst>
        </pc:spChg>
      </pc:sldChg>
      <pc:sldChg chg="addSp modSp">
        <pc:chgData name="Crystel Leonidas" userId="4c0ff1e3-c20c-42ea-85f9-0bda986f3971" providerId="ADAL" clId="{1535335A-C5BF-4195-8266-E208BF6BF1DA}" dt="2021-01-28T20:31:05.893" v="121" actId="14100"/>
        <pc:sldMkLst>
          <pc:docMk/>
          <pc:sldMk cId="3773699427" sldId="2076137397"/>
        </pc:sldMkLst>
        <pc:spChg chg="add mod">
          <ac:chgData name="Crystel Leonidas" userId="4c0ff1e3-c20c-42ea-85f9-0bda986f3971" providerId="ADAL" clId="{1535335A-C5BF-4195-8266-E208BF6BF1DA}" dt="2021-01-28T20:31:05.893" v="121" actId="14100"/>
          <ac:spMkLst>
            <pc:docMk/>
            <pc:sldMk cId="3773699427" sldId="2076137397"/>
            <ac:spMk id="9" creationId="{1E1D05F2-3A92-41A2-9372-4C03111F3C28}"/>
          </ac:spMkLst>
        </pc:spChg>
      </pc:sldChg>
      <pc:sldChg chg="addSp modSp">
        <pc:chgData name="Crystel Leonidas" userId="4c0ff1e3-c20c-42ea-85f9-0bda986f3971" providerId="ADAL" clId="{1535335A-C5BF-4195-8266-E208BF6BF1DA}" dt="2021-01-28T20:32:54.487" v="132" actId="14100"/>
        <pc:sldMkLst>
          <pc:docMk/>
          <pc:sldMk cId="2034733267" sldId="2076137399"/>
        </pc:sldMkLst>
        <pc:spChg chg="add mod">
          <ac:chgData name="Crystel Leonidas" userId="4c0ff1e3-c20c-42ea-85f9-0bda986f3971" providerId="ADAL" clId="{1535335A-C5BF-4195-8266-E208BF6BF1DA}" dt="2021-01-28T20:32:54.487" v="132" actId="14100"/>
          <ac:spMkLst>
            <pc:docMk/>
            <pc:sldMk cId="2034733267" sldId="2076137399"/>
            <ac:spMk id="9" creationId="{05655A3C-58D0-48D2-8BC0-89C5689C8308}"/>
          </ac:spMkLst>
        </pc:spChg>
      </pc:sldChg>
      <pc:sldChg chg="addSp modSp">
        <pc:chgData name="Crystel Leonidas" userId="4c0ff1e3-c20c-42ea-85f9-0bda986f3971" providerId="ADAL" clId="{1535335A-C5BF-4195-8266-E208BF6BF1DA}" dt="2021-01-28T20:33:27.893" v="139" actId="14100"/>
        <pc:sldMkLst>
          <pc:docMk/>
          <pc:sldMk cId="335893083" sldId="2076137400"/>
        </pc:sldMkLst>
        <pc:spChg chg="add mod">
          <ac:chgData name="Crystel Leonidas" userId="4c0ff1e3-c20c-42ea-85f9-0bda986f3971" providerId="ADAL" clId="{1535335A-C5BF-4195-8266-E208BF6BF1DA}" dt="2021-01-28T20:33:27.893" v="139" actId="14100"/>
          <ac:spMkLst>
            <pc:docMk/>
            <pc:sldMk cId="335893083" sldId="2076137400"/>
            <ac:spMk id="10" creationId="{B8C2151A-C955-40A0-AE3F-E1FC0177F91C}"/>
          </ac:spMkLst>
        </pc:spChg>
        <pc:grpChg chg="mod">
          <ac:chgData name="Crystel Leonidas" userId="4c0ff1e3-c20c-42ea-85f9-0bda986f3971" providerId="ADAL" clId="{1535335A-C5BF-4195-8266-E208BF6BF1DA}" dt="2021-01-28T20:33:17.838" v="137" actId="1076"/>
          <ac:grpSpMkLst>
            <pc:docMk/>
            <pc:sldMk cId="335893083" sldId="2076137400"/>
            <ac:grpSpMk id="2" creationId="{1785FAF2-4758-47AA-901B-71945135F763}"/>
          </ac:grpSpMkLst>
        </pc:grpChg>
      </pc:sldChg>
      <pc:sldChg chg="addSp modSp">
        <pc:chgData name="Crystel Leonidas" userId="4c0ff1e3-c20c-42ea-85f9-0bda986f3971" providerId="ADAL" clId="{1535335A-C5BF-4195-8266-E208BF6BF1DA}" dt="2021-02-02T01:08:04.320" v="157" actId="688"/>
        <pc:sldMkLst>
          <pc:docMk/>
          <pc:sldMk cId="249564304" sldId="2076137401"/>
        </pc:sldMkLst>
        <pc:spChg chg="add mod">
          <ac:chgData name="Crystel Leonidas" userId="4c0ff1e3-c20c-42ea-85f9-0bda986f3971" providerId="ADAL" clId="{1535335A-C5BF-4195-8266-E208BF6BF1DA}" dt="2021-02-02T01:06:59.495" v="152" actId="164"/>
          <ac:spMkLst>
            <pc:docMk/>
            <pc:sldMk cId="249564304" sldId="2076137401"/>
            <ac:spMk id="21" creationId="{38FC528A-FA98-4054-AC00-A650F600B022}"/>
          </ac:spMkLst>
        </pc:spChg>
        <pc:spChg chg="mod">
          <ac:chgData name="Crystel Leonidas" userId="4c0ff1e3-c20c-42ea-85f9-0bda986f3971" providerId="ADAL" clId="{1535335A-C5BF-4195-8266-E208BF6BF1DA}" dt="2021-02-02T01:06:06.364" v="140"/>
          <ac:spMkLst>
            <pc:docMk/>
            <pc:sldMk cId="249564304" sldId="2076137401"/>
            <ac:spMk id="22" creationId="{2D5F7788-3F1E-400D-9511-3233EE09CB23}"/>
          </ac:spMkLst>
        </pc:spChg>
        <pc:grpChg chg="add mod">
          <ac:chgData name="Crystel Leonidas" userId="4c0ff1e3-c20c-42ea-85f9-0bda986f3971" providerId="ADAL" clId="{1535335A-C5BF-4195-8266-E208BF6BF1DA}" dt="2021-02-02T01:08:04.320" v="157" actId="688"/>
          <ac:grpSpMkLst>
            <pc:docMk/>
            <pc:sldMk cId="249564304" sldId="2076137401"/>
            <ac:grpSpMk id="13" creationId="{67E4510D-1B14-4FB2-A0E5-1638057E70CA}"/>
          </ac:grpSpMkLst>
        </pc:grpChg>
        <pc:picChg chg="mod">
          <ac:chgData name="Crystel Leonidas" userId="4c0ff1e3-c20c-42ea-85f9-0bda986f3971" providerId="ADAL" clId="{1535335A-C5BF-4195-8266-E208BF6BF1DA}" dt="2021-02-02T01:06:59.495" v="152" actId="164"/>
          <ac:picMkLst>
            <pc:docMk/>
            <pc:sldMk cId="249564304" sldId="2076137401"/>
            <ac:picMk id="15" creationId="{70606AF6-0B3A-4C87-9535-8E2FA08EFBAE}"/>
          </ac:picMkLst>
        </pc:picChg>
      </pc:sldChg>
      <pc:sldChg chg="addSp delSp modSp">
        <pc:chgData name="Crystel Leonidas" userId="4c0ff1e3-c20c-42ea-85f9-0bda986f3971" providerId="ADAL" clId="{1535335A-C5BF-4195-8266-E208BF6BF1DA}" dt="2021-02-02T01:07:37.655" v="156" actId="688"/>
        <pc:sldMkLst>
          <pc:docMk/>
          <pc:sldMk cId="1610434797" sldId="2076137408"/>
        </pc:sldMkLst>
        <pc:grpChg chg="add mod">
          <ac:chgData name="Crystel Leonidas" userId="4c0ff1e3-c20c-42ea-85f9-0bda986f3971" providerId="ADAL" clId="{1535335A-C5BF-4195-8266-E208BF6BF1DA}" dt="2021-02-02T01:07:37.655" v="156" actId="688"/>
          <ac:grpSpMkLst>
            <pc:docMk/>
            <pc:sldMk cId="1610434797" sldId="2076137408"/>
            <ac:grpSpMk id="24" creationId="{CCDF4591-82A8-4E7A-836E-91B0D05BB951}"/>
          </ac:grpSpMkLst>
        </pc:grpChg>
        <pc:picChg chg="del">
          <ac:chgData name="Crystel Leonidas" userId="4c0ff1e3-c20c-42ea-85f9-0bda986f3971" providerId="ADAL" clId="{1535335A-C5BF-4195-8266-E208BF6BF1DA}" dt="2021-02-02T01:07:12.200" v="153" actId="478"/>
          <ac:picMkLst>
            <pc:docMk/>
            <pc:sldMk cId="1610434797" sldId="2076137408"/>
            <ac:picMk id="20" creationId="{7AE96AEF-F2C4-4A68-9CDE-3BE8F61FB072}"/>
          </ac:picMkLst>
        </pc:picChg>
      </pc:sldChg>
      <pc:sldChg chg="add del">
        <pc:chgData name="Crystel Leonidas" userId="4c0ff1e3-c20c-42ea-85f9-0bda986f3971" providerId="ADAL" clId="{1535335A-C5BF-4195-8266-E208BF6BF1DA}" dt="2021-01-28T20:33:07.007" v="134"/>
        <pc:sldMkLst>
          <pc:docMk/>
          <pc:sldMk cId="1091283002" sldId="2076137410"/>
        </pc:sldMkLst>
      </pc:sldChg>
    </pc:docChg>
  </pc:docChgLst>
  <pc:docChgLst>
    <pc:chgData clId="Web-{788D75DD-422D-7653-97B5-784CE8D55C01}"/>
    <pc:docChg chg="">
      <pc:chgData name="" userId="" providerId="" clId="Web-{788D75DD-422D-7653-97B5-784CE8D55C01}" dt="2021-01-28T20:54:40.238" v="7"/>
      <pc:docMkLst>
        <pc:docMk/>
      </pc:docMkLst>
      <pc:sldChg chg="addCm modCm">
        <pc:chgData name="" userId="" providerId="" clId="Web-{788D75DD-422D-7653-97B5-784CE8D55C01}" dt="2021-01-28T20:49:41.230" v="3"/>
        <pc:sldMkLst>
          <pc:docMk/>
          <pc:sldMk cId="3773699427" sldId="2076137397"/>
        </pc:sldMkLst>
      </pc:sldChg>
      <pc:sldChg chg="addCm modCm">
        <pc:chgData name="" userId="" providerId="" clId="Web-{788D75DD-422D-7653-97B5-784CE8D55C01}" dt="2021-01-28T20:53:04.048" v="6"/>
        <pc:sldMkLst>
          <pc:docMk/>
          <pc:sldMk cId="249564304" sldId="2076137401"/>
        </pc:sldMkLst>
      </pc:sldChg>
      <pc:sldChg chg="addCm">
        <pc:chgData name="" userId="" providerId="" clId="Web-{788D75DD-422D-7653-97B5-784CE8D55C01}" dt="2021-01-28T20:54:40.238" v="7"/>
        <pc:sldMkLst>
          <pc:docMk/>
          <pc:sldMk cId="1610434797" sldId="2076137408"/>
        </pc:sldMkLst>
      </pc:sldChg>
    </pc:docChg>
  </pc:docChgLst>
  <pc:docChgLst>
    <pc:chgData name="Gracie A Chewning" userId="9de9d667-e019-4a85-82bf-b9f50f141a0d" providerId="ADAL" clId="{10056097-E2DC-43D6-8FE8-D2849467D502}"/>
    <pc:docChg chg="undo custSel addSld delSld modSld sldOrd">
      <pc:chgData name="Gracie A Chewning" userId="9de9d667-e019-4a85-82bf-b9f50f141a0d" providerId="ADAL" clId="{10056097-E2DC-43D6-8FE8-D2849467D502}" dt="2021-02-01T16:40:25.158" v="2593" actId="1582"/>
      <pc:docMkLst>
        <pc:docMk/>
      </pc:docMkLst>
      <pc:sldChg chg="modSp">
        <pc:chgData name="Gracie A Chewning" userId="9de9d667-e019-4a85-82bf-b9f50f141a0d" providerId="ADAL" clId="{10056097-E2DC-43D6-8FE8-D2849467D502}" dt="2021-01-28T19:34:49.808" v="2511" actId="20577"/>
        <pc:sldMkLst>
          <pc:docMk/>
          <pc:sldMk cId="3123279992" sldId="9070"/>
        </pc:sldMkLst>
        <pc:graphicFrameChg chg="mod modGraphic">
          <ac:chgData name="Gracie A Chewning" userId="9de9d667-e019-4a85-82bf-b9f50f141a0d" providerId="ADAL" clId="{10056097-E2DC-43D6-8FE8-D2849467D502}" dt="2021-01-28T19:34:49.808" v="2511" actId="20577"/>
          <ac:graphicFrameMkLst>
            <pc:docMk/>
            <pc:sldMk cId="3123279992" sldId="9070"/>
            <ac:graphicFrameMk id="6" creationId="{78B1BD31-3AF9-4B81-93FC-7241460106EA}"/>
          </ac:graphicFrameMkLst>
        </pc:graphicFrameChg>
      </pc:sldChg>
      <pc:sldChg chg="modSp">
        <pc:chgData name="Gracie A Chewning" userId="9de9d667-e019-4a85-82bf-b9f50f141a0d" providerId="ADAL" clId="{10056097-E2DC-43D6-8FE8-D2849467D502}" dt="2021-01-28T17:42:17.368" v="1883" actId="20577"/>
        <pc:sldMkLst>
          <pc:docMk/>
          <pc:sldMk cId="450641459" sldId="9071"/>
        </pc:sldMkLst>
        <pc:spChg chg="mod">
          <ac:chgData name="Gracie A Chewning" userId="9de9d667-e019-4a85-82bf-b9f50f141a0d" providerId="ADAL" clId="{10056097-E2DC-43D6-8FE8-D2849467D502}" dt="2021-01-28T17:42:17.368" v="1883" actId="20577"/>
          <ac:spMkLst>
            <pc:docMk/>
            <pc:sldMk cId="450641459" sldId="9071"/>
            <ac:spMk id="5" creationId="{DCDD0A90-3E45-4A7E-AD19-64D73FEF1191}"/>
          </ac:spMkLst>
        </pc:spChg>
      </pc:sldChg>
      <pc:sldChg chg="modSp">
        <pc:chgData name="Gracie A Chewning" userId="9de9d667-e019-4a85-82bf-b9f50f141a0d" providerId="ADAL" clId="{10056097-E2DC-43D6-8FE8-D2849467D502}" dt="2021-02-01T16:38:09.967" v="2578" actId="1582"/>
        <pc:sldMkLst>
          <pc:docMk/>
          <pc:sldMk cId="1447221636" sldId="9079"/>
        </pc:sldMkLst>
        <pc:spChg chg="mod">
          <ac:chgData name="Gracie A Chewning" userId="9de9d667-e019-4a85-82bf-b9f50f141a0d" providerId="ADAL" clId="{10056097-E2DC-43D6-8FE8-D2849467D502}" dt="2021-01-28T16:04:00.368" v="1830" actId="2711"/>
          <ac:spMkLst>
            <pc:docMk/>
            <pc:sldMk cId="1447221636" sldId="9079"/>
            <ac:spMk id="21" creationId="{97484700-38C9-49CC-AFE3-401E5C2E2E73}"/>
          </ac:spMkLst>
        </pc:spChg>
        <pc:picChg chg="mod">
          <ac:chgData name="Gracie A Chewning" userId="9de9d667-e019-4a85-82bf-b9f50f141a0d" providerId="ADAL" clId="{10056097-E2DC-43D6-8FE8-D2849467D502}" dt="2021-02-01T16:38:09.967" v="2578" actId="1582"/>
          <ac:picMkLst>
            <pc:docMk/>
            <pc:sldMk cId="1447221636" sldId="9079"/>
            <ac:picMk id="4" creationId="{4093A9C8-A302-4410-A45F-19CEEA873A07}"/>
          </ac:picMkLst>
        </pc:picChg>
      </pc:sldChg>
      <pc:sldChg chg="addSp delSp modSp addCm delCm modCm">
        <pc:chgData name="Gracie A Chewning" userId="9de9d667-e019-4a85-82bf-b9f50f141a0d" providerId="ADAL" clId="{10056097-E2DC-43D6-8FE8-D2849467D502}" dt="2021-01-28T19:24:53.351" v="2389" actId="1592"/>
        <pc:sldMkLst>
          <pc:docMk/>
          <pc:sldMk cId="1789405769" sldId="2076137379"/>
        </pc:sldMkLst>
        <pc:spChg chg="del">
          <ac:chgData name="Gracie A Chewning" userId="9de9d667-e019-4a85-82bf-b9f50f141a0d" providerId="ADAL" clId="{10056097-E2DC-43D6-8FE8-D2849467D502}" dt="2021-01-28T14:57:45.165" v="731" actId="478"/>
          <ac:spMkLst>
            <pc:docMk/>
            <pc:sldMk cId="1789405769" sldId="2076137379"/>
            <ac:spMk id="3" creationId="{195875DD-FAE8-42C0-AD9A-2172862440ED}"/>
          </ac:spMkLst>
        </pc:spChg>
        <pc:spChg chg="add del mod">
          <ac:chgData name="Gracie A Chewning" userId="9de9d667-e019-4a85-82bf-b9f50f141a0d" providerId="ADAL" clId="{10056097-E2DC-43D6-8FE8-D2849467D502}" dt="2021-01-28T14:49:35.631" v="4" actId="478"/>
          <ac:spMkLst>
            <pc:docMk/>
            <pc:sldMk cId="1789405769" sldId="2076137379"/>
            <ac:spMk id="5" creationId="{3A49ACB9-8B8C-4680-84E4-955BFFF14019}"/>
          </ac:spMkLst>
        </pc:spChg>
        <pc:spChg chg="add del">
          <ac:chgData name="Gracie A Chewning" userId="9de9d667-e019-4a85-82bf-b9f50f141a0d" providerId="ADAL" clId="{10056097-E2DC-43D6-8FE8-D2849467D502}" dt="2021-01-28T14:49:53.179" v="6" actId="478"/>
          <ac:spMkLst>
            <pc:docMk/>
            <pc:sldMk cId="1789405769" sldId="2076137379"/>
            <ac:spMk id="8" creationId="{FFB8C755-70F9-4663-987F-19DCFC9B2FED}"/>
          </ac:spMkLst>
        </pc:spChg>
        <pc:spChg chg="mod">
          <ac:chgData name="Gracie A Chewning" userId="9de9d667-e019-4a85-82bf-b9f50f141a0d" providerId="ADAL" clId="{10056097-E2DC-43D6-8FE8-D2849467D502}" dt="2021-01-28T15:09:57.095" v="890" actId="2711"/>
          <ac:spMkLst>
            <pc:docMk/>
            <pc:sldMk cId="1789405769" sldId="2076137379"/>
            <ac:spMk id="21" creationId="{3D133CF7-6C25-43DE-8B16-7A07A82B1BDD}"/>
          </ac:spMkLst>
        </pc:spChg>
        <pc:spChg chg="del">
          <ac:chgData name="Gracie A Chewning" userId="9de9d667-e019-4a85-82bf-b9f50f141a0d" providerId="ADAL" clId="{10056097-E2DC-43D6-8FE8-D2849467D502}" dt="2021-01-28T14:49:27.547" v="0" actId="478"/>
          <ac:spMkLst>
            <pc:docMk/>
            <pc:sldMk cId="1789405769" sldId="2076137379"/>
            <ac:spMk id="22" creationId="{06802F2B-D755-4FC5-A2E7-96CB85F2367A}"/>
          </ac:spMkLst>
        </pc:spChg>
        <pc:spChg chg="add mod">
          <ac:chgData name="Gracie A Chewning" userId="9de9d667-e019-4a85-82bf-b9f50f141a0d" providerId="ADAL" clId="{10056097-E2DC-43D6-8FE8-D2849467D502}" dt="2021-01-28T15:09:57.095" v="890" actId="2711"/>
          <ac:spMkLst>
            <pc:docMk/>
            <pc:sldMk cId="1789405769" sldId="2076137379"/>
            <ac:spMk id="24" creationId="{0C805F0D-28F9-44A6-8727-DB46BB94FE05}"/>
          </ac:spMkLst>
        </pc:spChg>
        <pc:spChg chg="add mod">
          <ac:chgData name="Gracie A Chewning" userId="9de9d667-e019-4a85-82bf-b9f50f141a0d" providerId="ADAL" clId="{10056097-E2DC-43D6-8FE8-D2849467D502}" dt="2021-01-28T15:09:57.095" v="890" actId="2711"/>
          <ac:spMkLst>
            <pc:docMk/>
            <pc:sldMk cId="1789405769" sldId="2076137379"/>
            <ac:spMk id="25" creationId="{6227318E-3AE6-468E-9E55-350B0DB33695}"/>
          </ac:spMkLst>
        </pc:spChg>
        <pc:spChg chg="add del mod">
          <ac:chgData name="Gracie A Chewning" userId="9de9d667-e019-4a85-82bf-b9f50f141a0d" providerId="ADAL" clId="{10056097-E2DC-43D6-8FE8-D2849467D502}" dt="2021-01-28T14:57:22.013" v="730"/>
          <ac:spMkLst>
            <pc:docMk/>
            <pc:sldMk cId="1789405769" sldId="2076137379"/>
            <ac:spMk id="26" creationId="{288A37BC-A44E-4EFD-B25B-12D9A89A6F3F}"/>
          </ac:spMkLst>
        </pc:spChg>
        <pc:spChg chg="add mod">
          <ac:chgData name="Gracie A Chewning" userId="9de9d667-e019-4a85-82bf-b9f50f141a0d" providerId="ADAL" clId="{10056097-E2DC-43D6-8FE8-D2849467D502}" dt="2021-01-28T15:10:48.672" v="892" actId="1076"/>
          <ac:spMkLst>
            <pc:docMk/>
            <pc:sldMk cId="1789405769" sldId="2076137379"/>
            <ac:spMk id="27" creationId="{C24F804B-AE48-4EE4-AE60-79EF315B1F8E}"/>
          </ac:spMkLst>
        </pc:spChg>
        <pc:spChg chg="del mod">
          <ac:chgData name="Gracie A Chewning" userId="9de9d667-e019-4a85-82bf-b9f50f141a0d" providerId="ADAL" clId="{10056097-E2DC-43D6-8FE8-D2849467D502}" dt="2021-01-28T15:07:26.474" v="885" actId="478"/>
          <ac:spMkLst>
            <pc:docMk/>
            <pc:sldMk cId="1789405769" sldId="2076137379"/>
            <ac:spMk id="128" creationId="{4B364070-751C-44A4-961C-4D9D59932C74}"/>
          </ac:spMkLst>
        </pc:spChg>
        <pc:picChg chg="del">
          <ac:chgData name="Gracie A Chewning" userId="9de9d667-e019-4a85-82bf-b9f50f141a0d" providerId="ADAL" clId="{10056097-E2DC-43D6-8FE8-D2849467D502}" dt="2021-01-28T15:10:19.154" v="891" actId="478"/>
          <ac:picMkLst>
            <pc:docMk/>
            <pc:sldMk cId="1789405769" sldId="2076137379"/>
            <ac:picMk id="7" creationId="{014E2A11-18F3-4BBB-A76C-57E2E398CDE0}"/>
          </ac:picMkLst>
        </pc:picChg>
        <pc:picChg chg="del">
          <ac:chgData name="Gracie A Chewning" userId="9de9d667-e019-4a85-82bf-b9f50f141a0d" providerId="ADAL" clId="{10056097-E2DC-43D6-8FE8-D2849467D502}" dt="2021-01-28T15:11:34.761" v="893" actId="478"/>
          <ac:picMkLst>
            <pc:docMk/>
            <pc:sldMk cId="1789405769" sldId="2076137379"/>
            <ac:picMk id="9" creationId="{BAEED9DD-42C5-424D-A314-568EB6DCDA6A}"/>
          </ac:picMkLst>
        </pc:picChg>
        <pc:picChg chg="mod">
          <ac:chgData name="Gracie A Chewning" userId="9de9d667-e019-4a85-82bf-b9f50f141a0d" providerId="ADAL" clId="{10056097-E2DC-43D6-8FE8-D2849467D502}" dt="2021-01-28T15:16:14.503" v="907" actId="1076"/>
          <ac:picMkLst>
            <pc:docMk/>
            <pc:sldMk cId="1789405769" sldId="2076137379"/>
            <ac:picMk id="11" creationId="{CD5801B6-13AA-4FD8-B45B-74658BB73C79}"/>
          </ac:picMkLst>
        </pc:picChg>
        <pc:picChg chg="add mod">
          <ac:chgData name="Gracie A Chewning" userId="9de9d667-e019-4a85-82bf-b9f50f141a0d" providerId="ADAL" clId="{10056097-E2DC-43D6-8FE8-D2849467D502}" dt="2021-01-28T15:13:10.824" v="899" actId="207"/>
          <ac:picMkLst>
            <pc:docMk/>
            <pc:sldMk cId="1789405769" sldId="2076137379"/>
            <ac:picMk id="12" creationId="{85286183-3B77-4D7F-9821-6B55F797F58C}"/>
          </ac:picMkLst>
        </pc:picChg>
        <pc:picChg chg="add mod">
          <ac:chgData name="Gracie A Chewning" userId="9de9d667-e019-4a85-82bf-b9f50f141a0d" providerId="ADAL" clId="{10056097-E2DC-43D6-8FE8-D2849467D502}" dt="2021-01-28T15:14:32.817" v="904" actId="207"/>
          <ac:picMkLst>
            <pc:docMk/>
            <pc:sldMk cId="1789405769" sldId="2076137379"/>
            <ac:picMk id="14" creationId="{81E40366-7463-40BA-8E2D-299A81D8B3D8}"/>
          </ac:picMkLst>
        </pc:picChg>
      </pc:sldChg>
      <pc:sldChg chg="modSp">
        <pc:chgData name="Gracie A Chewning" userId="9de9d667-e019-4a85-82bf-b9f50f141a0d" providerId="ADAL" clId="{10056097-E2DC-43D6-8FE8-D2849467D502}" dt="2021-02-01T16:38:19.064" v="2579" actId="1582"/>
        <pc:sldMkLst>
          <pc:docMk/>
          <pc:sldMk cId="540838727" sldId="2076137387"/>
        </pc:sldMkLst>
        <pc:spChg chg="mod">
          <ac:chgData name="Gracie A Chewning" userId="9de9d667-e019-4a85-82bf-b9f50f141a0d" providerId="ADAL" clId="{10056097-E2DC-43D6-8FE8-D2849467D502}" dt="2021-01-28T16:04:33.760" v="1837" actId="2711"/>
          <ac:spMkLst>
            <pc:docMk/>
            <pc:sldMk cId="540838727" sldId="2076137387"/>
            <ac:spMk id="16" creationId="{F82660D4-174E-494B-8138-62CC2BD92056}"/>
          </ac:spMkLst>
        </pc:spChg>
        <pc:spChg chg="mod">
          <ac:chgData name="Gracie A Chewning" userId="9de9d667-e019-4a85-82bf-b9f50f141a0d" providerId="ADAL" clId="{10056097-E2DC-43D6-8FE8-D2849467D502}" dt="2021-01-28T16:04:19.448" v="1835" actId="20577"/>
          <ac:spMkLst>
            <pc:docMk/>
            <pc:sldMk cId="540838727" sldId="2076137387"/>
            <ac:spMk id="21" creationId="{97484700-38C9-49CC-AFE3-401E5C2E2E73}"/>
          </ac:spMkLst>
        </pc:spChg>
        <pc:picChg chg="mod">
          <ac:chgData name="Gracie A Chewning" userId="9de9d667-e019-4a85-82bf-b9f50f141a0d" providerId="ADAL" clId="{10056097-E2DC-43D6-8FE8-D2849467D502}" dt="2021-02-01T16:38:19.064" v="2579" actId="1582"/>
          <ac:picMkLst>
            <pc:docMk/>
            <pc:sldMk cId="540838727" sldId="2076137387"/>
            <ac:picMk id="13" creationId="{CBB0D70F-FC1F-44BE-878C-4B51F5433A63}"/>
          </ac:picMkLst>
        </pc:picChg>
      </pc:sldChg>
      <pc:sldChg chg="addSp modSp">
        <pc:chgData name="Gracie A Chewning" userId="9de9d667-e019-4a85-82bf-b9f50f141a0d" providerId="ADAL" clId="{10056097-E2DC-43D6-8FE8-D2849467D502}" dt="2021-02-01T16:38:58.868" v="2582" actId="1582"/>
        <pc:sldMkLst>
          <pc:docMk/>
          <pc:sldMk cId="2842145674" sldId="2076137393"/>
        </pc:sldMkLst>
        <pc:spChg chg="mod">
          <ac:chgData name="Gracie A Chewning" userId="9de9d667-e019-4a85-82bf-b9f50f141a0d" providerId="ADAL" clId="{10056097-E2DC-43D6-8FE8-D2849467D502}" dt="2021-01-28T17:55:37.647" v="2143" actId="2711"/>
          <ac:spMkLst>
            <pc:docMk/>
            <pc:sldMk cId="2842145674" sldId="2076137393"/>
            <ac:spMk id="21" creationId="{97484700-38C9-49CC-AFE3-401E5C2E2E73}"/>
          </ac:spMkLst>
        </pc:spChg>
        <pc:spChg chg="mod">
          <ac:chgData name="Gracie A Chewning" userId="9de9d667-e019-4a85-82bf-b9f50f141a0d" providerId="ADAL" clId="{10056097-E2DC-43D6-8FE8-D2849467D502}" dt="2021-02-01T16:25:35.713" v="2544" actId="164"/>
          <ac:spMkLst>
            <pc:docMk/>
            <pc:sldMk cId="2842145674" sldId="2076137393"/>
            <ac:spMk id="25" creationId="{62E2E481-4606-4BD4-8D5E-F25AB30BF51F}"/>
          </ac:spMkLst>
        </pc:spChg>
        <pc:grpChg chg="add mod">
          <ac:chgData name="Gracie A Chewning" userId="9de9d667-e019-4a85-82bf-b9f50f141a0d" providerId="ADAL" clId="{10056097-E2DC-43D6-8FE8-D2849467D502}" dt="2021-02-01T16:25:38.483" v="2546" actId="1076"/>
          <ac:grpSpMkLst>
            <pc:docMk/>
            <pc:sldMk cId="2842145674" sldId="2076137393"/>
            <ac:grpSpMk id="2" creationId="{54634FDA-37F8-468F-9115-2E39A4BAADAE}"/>
          </ac:grpSpMkLst>
        </pc:grpChg>
        <pc:picChg chg="mod">
          <ac:chgData name="Gracie A Chewning" userId="9de9d667-e019-4a85-82bf-b9f50f141a0d" providerId="ADAL" clId="{10056097-E2DC-43D6-8FE8-D2849467D502}" dt="2021-02-01T16:38:58.868" v="2582" actId="1582"/>
          <ac:picMkLst>
            <pc:docMk/>
            <pc:sldMk cId="2842145674" sldId="2076137393"/>
            <ac:picMk id="13" creationId="{BCECCB24-C1A6-4D86-8820-BC5650FBD816}"/>
          </ac:picMkLst>
        </pc:picChg>
      </pc:sldChg>
      <pc:sldChg chg="addSp modSp">
        <pc:chgData name="Gracie A Chewning" userId="9de9d667-e019-4a85-82bf-b9f50f141a0d" providerId="ADAL" clId="{10056097-E2DC-43D6-8FE8-D2849467D502}" dt="2021-02-01T16:39:05.748" v="2583" actId="1582"/>
        <pc:sldMkLst>
          <pc:docMk/>
          <pc:sldMk cId="1067674525" sldId="2076137394"/>
        </pc:sldMkLst>
        <pc:spChg chg="mod">
          <ac:chgData name="Gracie A Chewning" userId="9de9d667-e019-4a85-82bf-b9f50f141a0d" providerId="ADAL" clId="{10056097-E2DC-43D6-8FE8-D2849467D502}" dt="2021-02-01T16:25:59.997" v="2550" actId="164"/>
          <ac:spMkLst>
            <pc:docMk/>
            <pc:sldMk cId="1067674525" sldId="2076137394"/>
            <ac:spMk id="16" creationId="{3042B82B-08E0-4DC4-A985-F2B525C8E8E1}"/>
          </ac:spMkLst>
        </pc:spChg>
        <pc:spChg chg="mod">
          <ac:chgData name="Gracie A Chewning" userId="9de9d667-e019-4a85-82bf-b9f50f141a0d" providerId="ADAL" clId="{10056097-E2DC-43D6-8FE8-D2849467D502}" dt="2021-01-28T16:05:03.692" v="1838" actId="2711"/>
          <ac:spMkLst>
            <pc:docMk/>
            <pc:sldMk cId="1067674525" sldId="2076137394"/>
            <ac:spMk id="21" creationId="{97484700-38C9-49CC-AFE3-401E5C2E2E73}"/>
          </ac:spMkLst>
        </pc:spChg>
        <pc:grpChg chg="add mod">
          <ac:chgData name="Gracie A Chewning" userId="9de9d667-e019-4a85-82bf-b9f50f141a0d" providerId="ADAL" clId="{10056097-E2DC-43D6-8FE8-D2849467D502}" dt="2021-02-01T16:25:59.997" v="2550" actId="164"/>
          <ac:grpSpMkLst>
            <pc:docMk/>
            <pc:sldMk cId="1067674525" sldId="2076137394"/>
            <ac:grpSpMk id="2" creationId="{8424D2A0-730E-4B64-81A7-58B00A562939}"/>
          </ac:grpSpMkLst>
        </pc:grpChg>
        <pc:picChg chg="mod">
          <ac:chgData name="Gracie A Chewning" userId="9de9d667-e019-4a85-82bf-b9f50f141a0d" providerId="ADAL" clId="{10056097-E2DC-43D6-8FE8-D2849467D502}" dt="2021-02-01T16:39:05.748" v="2583" actId="1582"/>
          <ac:picMkLst>
            <pc:docMk/>
            <pc:sldMk cId="1067674525" sldId="2076137394"/>
            <ac:picMk id="15" creationId="{5EEBE7B4-C47A-4F7D-8AA1-DB0B0416D401}"/>
          </ac:picMkLst>
        </pc:picChg>
      </pc:sldChg>
      <pc:sldChg chg="addSp modSp">
        <pc:chgData name="Gracie A Chewning" userId="9de9d667-e019-4a85-82bf-b9f50f141a0d" providerId="ADAL" clId="{10056097-E2DC-43D6-8FE8-D2849467D502}" dt="2021-02-01T16:39:29.513" v="2585" actId="1582"/>
        <pc:sldMkLst>
          <pc:docMk/>
          <pc:sldMk cId="597749760" sldId="2076137395"/>
        </pc:sldMkLst>
        <pc:spChg chg="mod">
          <ac:chgData name="Gracie A Chewning" userId="9de9d667-e019-4a85-82bf-b9f50f141a0d" providerId="ADAL" clId="{10056097-E2DC-43D6-8FE8-D2849467D502}" dt="2021-01-28T18:02:42.548" v="2145" actId="20577"/>
          <ac:spMkLst>
            <pc:docMk/>
            <pc:sldMk cId="597749760" sldId="2076137395"/>
            <ac:spMk id="8" creationId="{62CA0B21-B744-FE43-A932-81C21120730C}"/>
          </ac:spMkLst>
        </pc:spChg>
        <pc:spChg chg="mod">
          <ac:chgData name="Gracie A Chewning" userId="9de9d667-e019-4a85-82bf-b9f50f141a0d" providerId="ADAL" clId="{10056097-E2DC-43D6-8FE8-D2849467D502}" dt="2021-01-28T16:06:03.954" v="1846" actId="2711"/>
          <ac:spMkLst>
            <pc:docMk/>
            <pc:sldMk cId="597749760" sldId="2076137395"/>
            <ac:spMk id="21" creationId="{97484700-38C9-49CC-AFE3-401E5C2E2E73}"/>
          </ac:spMkLst>
        </pc:spChg>
        <pc:spChg chg="mod">
          <ac:chgData name="Gracie A Chewning" userId="9de9d667-e019-4a85-82bf-b9f50f141a0d" providerId="ADAL" clId="{10056097-E2DC-43D6-8FE8-D2849467D502}" dt="2021-02-01T16:26:49.783" v="2556" actId="164"/>
          <ac:spMkLst>
            <pc:docMk/>
            <pc:sldMk cId="597749760" sldId="2076137395"/>
            <ac:spMk id="25" creationId="{62E2E481-4606-4BD4-8D5E-F25AB30BF51F}"/>
          </ac:spMkLst>
        </pc:spChg>
        <pc:grpChg chg="add mod">
          <ac:chgData name="Gracie A Chewning" userId="9de9d667-e019-4a85-82bf-b9f50f141a0d" providerId="ADAL" clId="{10056097-E2DC-43D6-8FE8-D2849467D502}" dt="2021-02-01T16:26:49.783" v="2556" actId="164"/>
          <ac:grpSpMkLst>
            <pc:docMk/>
            <pc:sldMk cId="597749760" sldId="2076137395"/>
            <ac:grpSpMk id="2" creationId="{AA9BC15A-110F-4127-84E4-32E685E68057}"/>
          </ac:grpSpMkLst>
        </pc:grpChg>
        <pc:picChg chg="mod">
          <ac:chgData name="Gracie A Chewning" userId="9de9d667-e019-4a85-82bf-b9f50f141a0d" providerId="ADAL" clId="{10056097-E2DC-43D6-8FE8-D2849467D502}" dt="2021-02-01T16:39:29.513" v="2585" actId="1582"/>
          <ac:picMkLst>
            <pc:docMk/>
            <pc:sldMk cId="597749760" sldId="2076137395"/>
            <ac:picMk id="13" creationId="{67568EFF-B6A4-431D-9B06-5F7A4796D58C}"/>
          </ac:picMkLst>
        </pc:picChg>
      </pc:sldChg>
      <pc:sldChg chg="addSp delSp modSp">
        <pc:chgData name="Gracie A Chewning" userId="9de9d667-e019-4a85-82bf-b9f50f141a0d" providerId="ADAL" clId="{10056097-E2DC-43D6-8FE8-D2849467D502}" dt="2021-02-01T16:39:38.108" v="2586" actId="1582"/>
        <pc:sldMkLst>
          <pc:docMk/>
          <pc:sldMk cId="781407554" sldId="2076137396"/>
        </pc:sldMkLst>
        <pc:spChg chg="mod">
          <ac:chgData name="Gracie A Chewning" userId="9de9d667-e019-4a85-82bf-b9f50f141a0d" providerId="ADAL" clId="{10056097-E2DC-43D6-8FE8-D2849467D502}" dt="2021-01-28T16:06:17.677" v="1847" actId="2711"/>
          <ac:spMkLst>
            <pc:docMk/>
            <pc:sldMk cId="781407554" sldId="2076137396"/>
            <ac:spMk id="2" creationId="{DBB453A1-70FF-4446-AA8B-6C396681D3BA}"/>
          </ac:spMkLst>
        </pc:spChg>
        <pc:spChg chg="add mod">
          <ac:chgData name="Gracie A Chewning" userId="9de9d667-e019-4a85-82bf-b9f50f141a0d" providerId="ADAL" clId="{10056097-E2DC-43D6-8FE8-D2849467D502}" dt="2021-02-01T16:27:17.502" v="2561" actId="2085"/>
          <ac:spMkLst>
            <pc:docMk/>
            <pc:sldMk cId="781407554" sldId="2076137396"/>
            <ac:spMk id="3" creationId="{B5B486A6-990C-4AE6-B9D6-6C7ACECE66F4}"/>
          </ac:spMkLst>
        </pc:spChg>
        <pc:spChg chg="mod">
          <ac:chgData name="Gracie A Chewning" userId="9de9d667-e019-4a85-82bf-b9f50f141a0d" providerId="ADAL" clId="{10056097-E2DC-43D6-8FE8-D2849467D502}" dt="2021-01-28T18:02:52.168" v="2147" actId="20577"/>
          <ac:spMkLst>
            <pc:docMk/>
            <pc:sldMk cId="781407554" sldId="2076137396"/>
            <ac:spMk id="8" creationId="{62CA0B21-B744-FE43-A932-81C21120730C}"/>
          </ac:spMkLst>
        </pc:spChg>
        <pc:spChg chg="add del mod">
          <ac:chgData name="Gracie A Chewning" userId="9de9d667-e019-4a85-82bf-b9f50f141a0d" providerId="ADAL" clId="{10056097-E2DC-43D6-8FE8-D2849467D502}" dt="2021-01-28T15:21:46.559" v="1404"/>
          <ac:spMkLst>
            <pc:docMk/>
            <pc:sldMk cId="781407554" sldId="2076137396"/>
            <ac:spMk id="10" creationId="{58FFE466-3F2A-4C2D-A4CE-233B8AE2A8C7}"/>
          </ac:spMkLst>
        </pc:spChg>
        <pc:spChg chg="add mod">
          <ac:chgData name="Gracie A Chewning" userId="9de9d667-e019-4a85-82bf-b9f50f141a0d" providerId="ADAL" clId="{10056097-E2DC-43D6-8FE8-D2849467D502}" dt="2021-02-01T16:27:17.502" v="2561" actId="2085"/>
          <ac:spMkLst>
            <pc:docMk/>
            <pc:sldMk cId="781407554" sldId="2076137396"/>
            <ac:spMk id="15" creationId="{53C67D9E-51A2-487D-8301-9A6D3B54BE50}"/>
          </ac:spMkLst>
        </pc:spChg>
        <pc:spChg chg="mod">
          <ac:chgData name="Gracie A Chewning" userId="9de9d667-e019-4a85-82bf-b9f50f141a0d" providerId="ADAL" clId="{10056097-E2DC-43D6-8FE8-D2849467D502}" dt="2021-01-28T18:08:42.990" v="2187" actId="20577"/>
          <ac:spMkLst>
            <pc:docMk/>
            <pc:sldMk cId="781407554" sldId="2076137396"/>
            <ac:spMk id="21" creationId="{97484700-38C9-49CC-AFE3-401E5C2E2E73}"/>
          </ac:spMkLst>
        </pc:spChg>
        <pc:grpChg chg="mod">
          <ac:chgData name="Gracie A Chewning" userId="9de9d667-e019-4a85-82bf-b9f50f141a0d" providerId="ADAL" clId="{10056097-E2DC-43D6-8FE8-D2849467D502}" dt="2021-02-01T16:27:02.844" v="2559" actId="1076"/>
          <ac:grpSpMkLst>
            <pc:docMk/>
            <pc:sldMk cId="781407554" sldId="2076137396"/>
            <ac:grpSpMk id="5" creationId="{8DA45CEB-6746-4C84-B2B7-BA6B78431B59}"/>
          </ac:grpSpMkLst>
        </pc:grpChg>
        <pc:picChg chg="mod">
          <ac:chgData name="Gracie A Chewning" userId="9de9d667-e019-4a85-82bf-b9f50f141a0d" providerId="ADAL" clId="{10056097-E2DC-43D6-8FE8-D2849467D502}" dt="2021-02-01T16:39:38.108" v="2586" actId="1582"/>
          <ac:picMkLst>
            <pc:docMk/>
            <pc:sldMk cId="781407554" sldId="2076137396"/>
            <ac:picMk id="13" creationId="{2FA7B60E-E54A-4A72-840E-A25414737732}"/>
          </ac:picMkLst>
        </pc:picChg>
      </pc:sldChg>
      <pc:sldChg chg="modSp">
        <pc:chgData name="Gracie A Chewning" userId="9de9d667-e019-4a85-82bf-b9f50f141a0d" providerId="ADAL" clId="{10056097-E2DC-43D6-8FE8-D2849467D502}" dt="2021-02-01T16:38:34.902" v="2580" actId="1582"/>
        <pc:sldMkLst>
          <pc:docMk/>
          <pc:sldMk cId="3773699427" sldId="2076137397"/>
        </pc:sldMkLst>
        <pc:picChg chg="mod">
          <ac:chgData name="Gracie A Chewning" userId="9de9d667-e019-4a85-82bf-b9f50f141a0d" providerId="ADAL" clId="{10056097-E2DC-43D6-8FE8-D2849467D502}" dt="2021-02-01T16:38:34.902" v="2580" actId="1582"/>
          <ac:picMkLst>
            <pc:docMk/>
            <pc:sldMk cId="3773699427" sldId="2076137397"/>
            <ac:picMk id="5" creationId="{E66544D9-C1F9-4C10-90DD-DE9E0668C7FA}"/>
          </ac:picMkLst>
        </pc:picChg>
      </pc:sldChg>
      <pc:sldChg chg="addSp modSp">
        <pc:chgData name="Gracie A Chewning" userId="9de9d667-e019-4a85-82bf-b9f50f141a0d" providerId="ADAL" clId="{10056097-E2DC-43D6-8FE8-D2849467D502}" dt="2021-02-01T16:38:47.587" v="2581" actId="1582"/>
        <pc:sldMkLst>
          <pc:docMk/>
          <pc:sldMk cId="414200059" sldId="2076137398"/>
        </pc:sldMkLst>
        <pc:grpChg chg="add mod">
          <ac:chgData name="Gracie A Chewning" userId="9de9d667-e019-4a85-82bf-b9f50f141a0d" providerId="ADAL" clId="{10056097-E2DC-43D6-8FE8-D2849467D502}" dt="2021-02-01T16:21:56.923" v="2515" actId="164"/>
          <ac:grpSpMkLst>
            <pc:docMk/>
            <pc:sldMk cId="414200059" sldId="2076137398"/>
            <ac:grpSpMk id="2" creationId="{501CB8DE-E3CE-4373-956F-3E4D1BA64FD8}"/>
          </ac:grpSpMkLst>
        </pc:grpChg>
        <pc:picChg chg="mod">
          <ac:chgData name="Gracie A Chewning" userId="9de9d667-e019-4a85-82bf-b9f50f141a0d" providerId="ADAL" clId="{10056097-E2DC-43D6-8FE8-D2849467D502}" dt="2021-02-01T16:21:56.923" v="2515" actId="164"/>
          <ac:picMkLst>
            <pc:docMk/>
            <pc:sldMk cId="414200059" sldId="2076137398"/>
            <ac:picMk id="39938" creationId="{2122D3D1-D5E5-45AB-AFA2-28B2D2EDCB9C}"/>
          </ac:picMkLst>
        </pc:picChg>
        <pc:picChg chg="mod">
          <ac:chgData name="Gracie A Chewning" userId="9de9d667-e019-4a85-82bf-b9f50f141a0d" providerId="ADAL" clId="{10056097-E2DC-43D6-8FE8-D2849467D502}" dt="2021-02-01T16:38:47.587" v="2581" actId="1582"/>
          <ac:picMkLst>
            <pc:docMk/>
            <pc:sldMk cId="414200059" sldId="2076137398"/>
            <ac:picMk id="39940" creationId="{3D34E562-E9A6-4056-8FC6-30A408F31FC2}"/>
          </ac:picMkLst>
        </pc:picChg>
      </pc:sldChg>
      <pc:sldChg chg="addSp modSp">
        <pc:chgData name="Gracie A Chewning" userId="9de9d667-e019-4a85-82bf-b9f50f141a0d" providerId="ADAL" clId="{10056097-E2DC-43D6-8FE8-D2849467D502}" dt="2021-02-01T16:25:02.388" v="2529" actId="1076"/>
        <pc:sldMkLst>
          <pc:docMk/>
          <pc:sldMk cId="2034733267" sldId="2076137399"/>
        </pc:sldMkLst>
        <pc:spChg chg="mod">
          <ac:chgData name="Gracie A Chewning" userId="9de9d667-e019-4a85-82bf-b9f50f141a0d" providerId="ADAL" clId="{10056097-E2DC-43D6-8FE8-D2849467D502}" dt="2021-02-01T16:22:21.415" v="2527" actId="164"/>
          <ac:spMkLst>
            <pc:docMk/>
            <pc:sldMk cId="2034733267" sldId="2076137399"/>
            <ac:spMk id="9" creationId="{05655A3C-58D0-48D2-8BC0-89C5689C8308}"/>
          </ac:spMkLst>
        </pc:spChg>
        <pc:grpChg chg="add mod">
          <ac:chgData name="Gracie A Chewning" userId="9de9d667-e019-4a85-82bf-b9f50f141a0d" providerId="ADAL" clId="{10056097-E2DC-43D6-8FE8-D2849467D502}" dt="2021-02-01T16:25:02.388" v="2529" actId="1076"/>
          <ac:grpSpMkLst>
            <pc:docMk/>
            <pc:sldMk cId="2034733267" sldId="2076137399"/>
            <ac:grpSpMk id="2" creationId="{8ADB92F4-795C-4E0A-B8F0-B98EBD85D3AE}"/>
          </ac:grpSpMkLst>
        </pc:grpChg>
        <pc:picChg chg="mod">
          <ac:chgData name="Gracie A Chewning" userId="9de9d667-e019-4a85-82bf-b9f50f141a0d" providerId="ADAL" clId="{10056097-E2DC-43D6-8FE8-D2849467D502}" dt="2021-02-01T16:22:21.415" v="2527" actId="164"/>
          <ac:picMkLst>
            <pc:docMk/>
            <pc:sldMk cId="2034733267" sldId="2076137399"/>
            <ac:picMk id="40962" creationId="{29707C27-05B5-4BD1-9962-89CD301488AD}"/>
          </ac:picMkLst>
        </pc:picChg>
      </pc:sldChg>
      <pc:sldChg chg="addSp modSp">
        <pc:chgData name="Gracie A Chewning" userId="9de9d667-e019-4a85-82bf-b9f50f141a0d" providerId="ADAL" clId="{10056097-E2DC-43D6-8FE8-D2849467D502}" dt="2021-02-01T16:25:23.189" v="2542" actId="1076"/>
        <pc:sldMkLst>
          <pc:docMk/>
          <pc:sldMk cId="335893083" sldId="2076137400"/>
        </pc:sldMkLst>
        <pc:spChg chg="mod">
          <ac:chgData name="Gracie A Chewning" userId="9de9d667-e019-4a85-82bf-b9f50f141a0d" providerId="ADAL" clId="{10056097-E2DC-43D6-8FE8-D2849467D502}" dt="2021-02-01T16:25:16.832" v="2540" actId="164"/>
          <ac:spMkLst>
            <pc:docMk/>
            <pc:sldMk cId="335893083" sldId="2076137400"/>
            <ac:spMk id="10" creationId="{B8C2151A-C955-40A0-AE3F-E1FC0177F91C}"/>
          </ac:spMkLst>
        </pc:spChg>
        <pc:grpChg chg="mod">
          <ac:chgData name="Gracie A Chewning" userId="9de9d667-e019-4a85-82bf-b9f50f141a0d" providerId="ADAL" clId="{10056097-E2DC-43D6-8FE8-D2849467D502}" dt="2021-02-01T16:25:23.189" v="2542" actId="1076"/>
          <ac:grpSpMkLst>
            <pc:docMk/>
            <pc:sldMk cId="335893083" sldId="2076137400"/>
            <ac:grpSpMk id="2" creationId="{1785FAF2-4758-47AA-901B-71945135F763}"/>
          </ac:grpSpMkLst>
        </pc:grpChg>
        <pc:grpChg chg="add mod">
          <ac:chgData name="Gracie A Chewning" userId="9de9d667-e019-4a85-82bf-b9f50f141a0d" providerId="ADAL" clId="{10056097-E2DC-43D6-8FE8-D2849467D502}" dt="2021-02-01T16:25:23.189" v="2542" actId="1076"/>
          <ac:grpSpMkLst>
            <pc:docMk/>
            <pc:sldMk cId="335893083" sldId="2076137400"/>
            <ac:grpSpMk id="3" creationId="{42774CDC-E6C3-464F-8F6E-F014E69F42E5}"/>
          </ac:grpSpMkLst>
        </pc:grpChg>
      </pc:sldChg>
      <pc:sldChg chg="addSp modSp">
        <pc:chgData name="Gracie A Chewning" userId="9de9d667-e019-4a85-82bf-b9f50f141a0d" providerId="ADAL" clId="{10056097-E2DC-43D6-8FE8-D2849467D502}" dt="2021-02-01T16:39:20.200" v="2584" actId="1582"/>
        <pc:sldMkLst>
          <pc:docMk/>
          <pc:sldMk cId="249564304" sldId="2076137401"/>
        </pc:sldMkLst>
        <pc:spChg chg="mod">
          <ac:chgData name="Gracie A Chewning" userId="9de9d667-e019-4a85-82bf-b9f50f141a0d" providerId="ADAL" clId="{10056097-E2DC-43D6-8FE8-D2849467D502}" dt="2021-01-28T17:47:59.511" v="2028" actId="20577"/>
          <ac:spMkLst>
            <pc:docMk/>
            <pc:sldMk cId="249564304" sldId="2076137401"/>
            <ac:spMk id="2" creationId="{3E51037A-0519-40F2-83AA-FA06E1FE8410}"/>
          </ac:spMkLst>
        </pc:spChg>
        <pc:spChg chg="mod">
          <ac:chgData name="Gracie A Chewning" userId="9de9d667-e019-4a85-82bf-b9f50f141a0d" providerId="ADAL" clId="{10056097-E2DC-43D6-8FE8-D2849467D502}" dt="2021-01-28T17:49:34.148" v="2048" actId="20577"/>
          <ac:spMkLst>
            <pc:docMk/>
            <pc:sldMk cId="249564304" sldId="2076137401"/>
            <ac:spMk id="8" creationId="{62CA0B21-B744-FE43-A932-81C21120730C}"/>
          </ac:spMkLst>
        </pc:spChg>
        <pc:spChg chg="mod">
          <ac:chgData name="Gracie A Chewning" userId="9de9d667-e019-4a85-82bf-b9f50f141a0d" providerId="ADAL" clId="{10056097-E2DC-43D6-8FE8-D2849467D502}" dt="2021-01-28T17:48:45.319" v="2034" actId="1076"/>
          <ac:spMkLst>
            <pc:docMk/>
            <pc:sldMk cId="249564304" sldId="2076137401"/>
            <ac:spMk id="19" creationId="{B9C2EB75-D002-4BF5-A791-F12A2C032CEF}"/>
          </ac:spMkLst>
        </pc:spChg>
        <pc:spChg chg="mod">
          <ac:chgData name="Gracie A Chewning" userId="9de9d667-e019-4a85-82bf-b9f50f141a0d" providerId="ADAL" clId="{10056097-E2DC-43D6-8FE8-D2849467D502}" dt="2021-02-01T16:26:27.789" v="2553" actId="164"/>
          <ac:spMkLst>
            <pc:docMk/>
            <pc:sldMk cId="249564304" sldId="2076137401"/>
            <ac:spMk id="22" creationId="{2D5F7788-3F1E-400D-9511-3233EE09CB23}"/>
          </ac:spMkLst>
        </pc:spChg>
        <pc:grpChg chg="add mod">
          <ac:chgData name="Gracie A Chewning" userId="9de9d667-e019-4a85-82bf-b9f50f141a0d" providerId="ADAL" clId="{10056097-E2DC-43D6-8FE8-D2849467D502}" dt="2021-02-01T16:26:37.198" v="2554" actId="164"/>
          <ac:grpSpMkLst>
            <pc:docMk/>
            <pc:sldMk cId="249564304" sldId="2076137401"/>
            <ac:grpSpMk id="3" creationId="{C98BD829-55C9-43E8-99A4-B364DCD787EB}"/>
          </ac:grpSpMkLst>
        </pc:grpChg>
        <pc:grpChg chg="add mod">
          <ac:chgData name="Gracie A Chewning" userId="9de9d667-e019-4a85-82bf-b9f50f141a0d" providerId="ADAL" clId="{10056097-E2DC-43D6-8FE8-D2849467D502}" dt="2021-02-01T16:26:37.198" v="2554" actId="164"/>
          <ac:grpSpMkLst>
            <pc:docMk/>
            <pc:sldMk cId="249564304" sldId="2076137401"/>
            <ac:grpSpMk id="4" creationId="{A45CD6B8-ABAF-448E-B739-C9EFDDED2FAC}"/>
          </ac:grpSpMkLst>
        </pc:grpChg>
        <pc:picChg chg="mod">
          <ac:chgData name="Gracie A Chewning" userId="9de9d667-e019-4a85-82bf-b9f50f141a0d" providerId="ADAL" clId="{10056097-E2DC-43D6-8FE8-D2849467D502}" dt="2021-02-01T16:39:20.200" v="2584" actId="1582"/>
          <ac:picMkLst>
            <pc:docMk/>
            <pc:sldMk cId="249564304" sldId="2076137401"/>
            <ac:picMk id="16" creationId="{6123C9B8-F826-45DC-B0C5-A6B024ABC715}"/>
          </ac:picMkLst>
        </pc:picChg>
        <pc:picChg chg="mod">
          <ac:chgData name="Gracie A Chewning" userId="9de9d667-e019-4a85-82bf-b9f50f141a0d" providerId="ADAL" clId="{10056097-E2DC-43D6-8FE8-D2849467D502}" dt="2021-02-01T16:39:20.200" v="2584" actId="1582"/>
          <ac:picMkLst>
            <pc:docMk/>
            <pc:sldMk cId="249564304" sldId="2076137401"/>
            <ac:picMk id="20" creationId="{E4D21730-0051-4F3C-819C-8B6D49FE3493}"/>
          </ac:picMkLst>
        </pc:picChg>
        <pc:cxnChg chg="mod">
          <ac:chgData name="Gracie A Chewning" userId="9de9d667-e019-4a85-82bf-b9f50f141a0d" providerId="ADAL" clId="{10056097-E2DC-43D6-8FE8-D2849467D502}" dt="2021-02-01T16:26:37.198" v="2554" actId="164"/>
          <ac:cxnSpMkLst>
            <pc:docMk/>
            <pc:sldMk cId="249564304" sldId="2076137401"/>
            <ac:cxnSpMk id="23" creationId="{87821FB3-D15F-4425-B995-190F0ADACE4A}"/>
          </ac:cxnSpMkLst>
        </pc:cxnChg>
      </pc:sldChg>
      <pc:sldChg chg="addSp modSp ord">
        <pc:chgData name="Gracie A Chewning" userId="9de9d667-e019-4a85-82bf-b9f50f141a0d" providerId="ADAL" clId="{10056097-E2DC-43D6-8FE8-D2849467D502}" dt="2021-02-01T16:39:58.451" v="2588" actId="1582"/>
        <pc:sldMkLst>
          <pc:docMk/>
          <pc:sldMk cId="2731429917" sldId="2076137402"/>
        </pc:sldMkLst>
        <pc:spChg chg="mod">
          <ac:chgData name="Gracie A Chewning" userId="9de9d667-e019-4a85-82bf-b9f50f141a0d" providerId="ADAL" clId="{10056097-E2DC-43D6-8FE8-D2849467D502}" dt="2021-01-28T17:49:06.554" v="2042" actId="20577"/>
          <ac:spMkLst>
            <pc:docMk/>
            <pc:sldMk cId="2731429917" sldId="2076137402"/>
            <ac:spMk id="2" creationId="{3E51037A-0519-40F2-83AA-FA06E1FE8410}"/>
          </ac:spMkLst>
        </pc:spChg>
        <pc:spChg chg="mod">
          <ac:chgData name="Gracie A Chewning" userId="9de9d667-e019-4a85-82bf-b9f50f141a0d" providerId="ADAL" clId="{10056097-E2DC-43D6-8FE8-D2849467D502}" dt="2021-01-28T18:03:07.553" v="2149" actId="20577"/>
          <ac:spMkLst>
            <pc:docMk/>
            <pc:sldMk cId="2731429917" sldId="2076137402"/>
            <ac:spMk id="8" creationId="{62CA0B21-B744-FE43-A932-81C21120730C}"/>
          </ac:spMkLst>
        </pc:spChg>
        <pc:spChg chg="mod">
          <ac:chgData name="Gracie A Chewning" userId="9de9d667-e019-4a85-82bf-b9f50f141a0d" providerId="ADAL" clId="{10056097-E2DC-43D6-8FE8-D2849467D502}" dt="2021-01-28T16:05:48.165" v="1845" actId="2711"/>
          <ac:spMkLst>
            <pc:docMk/>
            <pc:sldMk cId="2731429917" sldId="2076137402"/>
            <ac:spMk id="18" creationId="{5921E684-25A7-46D3-9CCC-3FDDFD15B4D9}"/>
          </ac:spMkLst>
        </pc:spChg>
        <pc:spChg chg="mod">
          <ac:chgData name="Gracie A Chewning" userId="9de9d667-e019-4a85-82bf-b9f50f141a0d" providerId="ADAL" clId="{10056097-E2DC-43D6-8FE8-D2849467D502}" dt="2021-01-28T16:05:42.740" v="1844" actId="2711"/>
          <ac:spMkLst>
            <pc:docMk/>
            <pc:sldMk cId="2731429917" sldId="2076137402"/>
            <ac:spMk id="19" creationId="{B9C2EB75-D002-4BF5-A791-F12A2C032CEF}"/>
          </ac:spMkLst>
        </pc:spChg>
        <pc:spChg chg="mod">
          <ac:chgData name="Gracie A Chewning" userId="9de9d667-e019-4a85-82bf-b9f50f141a0d" providerId="ADAL" clId="{10056097-E2DC-43D6-8FE8-D2849467D502}" dt="2021-02-01T16:28:38.034" v="2568" actId="164"/>
          <ac:spMkLst>
            <pc:docMk/>
            <pc:sldMk cId="2731429917" sldId="2076137402"/>
            <ac:spMk id="22" creationId="{2D5F7788-3F1E-400D-9511-3233EE09CB23}"/>
          </ac:spMkLst>
        </pc:spChg>
        <pc:grpChg chg="add mod">
          <ac:chgData name="Gracie A Chewning" userId="9de9d667-e019-4a85-82bf-b9f50f141a0d" providerId="ADAL" clId="{10056097-E2DC-43D6-8FE8-D2849467D502}" dt="2021-02-01T16:28:44.763" v="2569" actId="164"/>
          <ac:grpSpMkLst>
            <pc:docMk/>
            <pc:sldMk cId="2731429917" sldId="2076137402"/>
            <ac:grpSpMk id="3" creationId="{21109310-B37D-432B-9740-721EB432E4B0}"/>
          </ac:grpSpMkLst>
        </pc:grpChg>
        <pc:grpChg chg="add mod">
          <ac:chgData name="Gracie A Chewning" userId="9de9d667-e019-4a85-82bf-b9f50f141a0d" providerId="ADAL" clId="{10056097-E2DC-43D6-8FE8-D2849467D502}" dt="2021-02-01T16:28:44.763" v="2569" actId="164"/>
          <ac:grpSpMkLst>
            <pc:docMk/>
            <pc:sldMk cId="2731429917" sldId="2076137402"/>
            <ac:grpSpMk id="4" creationId="{104BCE9F-BA9F-4B35-8BAD-2AB9AFBCE27F}"/>
          </ac:grpSpMkLst>
        </pc:grpChg>
        <pc:picChg chg="mod">
          <ac:chgData name="Gracie A Chewning" userId="9de9d667-e019-4a85-82bf-b9f50f141a0d" providerId="ADAL" clId="{10056097-E2DC-43D6-8FE8-D2849467D502}" dt="2021-02-01T16:39:58.451" v="2588" actId="1582"/>
          <ac:picMkLst>
            <pc:docMk/>
            <pc:sldMk cId="2731429917" sldId="2076137402"/>
            <ac:picMk id="15" creationId="{B9F677FA-A038-4329-A969-1776A1BC410E}"/>
          </ac:picMkLst>
        </pc:picChg>
        <pc:picChg chg="mod">
          <ac:chgData name="Gracie A Chewning" userId="9de9d667-e019-4a85-82bf-b9f50f141a0d" providerId="ADAL" clId="{10056097-E2DC-43D6-8FE8-D2849467D502}" dt="2021-02-01T16:39:58.451" v="2588" actId="1582"/>
          <ac:picMkLst>
            <pc:docMk/>
            <pc:sldMk cId="2731429917" sldId="2076137402"/>
            <ac:picMk id="17" creationId="{48C9944F-C877-433D-913F-48B38F673EBD}"/>
          </ac:picMkLst>
        </pc:picChg>
        <pc:cxnChg chg="mod">
          <ac:chgData name="Gracie A Chewning" userId="9de9d667-e019-4a85-82bf-b9f50f141a0d" providerId="ADAL" clId="{10056097-E2DC-43D6-8FE8-D2849467D502}" dt="2021-02-01T16:28:44.763" v="2569" actId="164"/>
          <ac:cxnSpMkLst>
            <pc:docMk/>
            <pc:sldMk cId="2731429917" sldId="2076137402"/>
            <ac:cxnSpMk id="23" creationId="{87821FB3-D15F-4425-B995-190F0ADACE4A}"/>
          </ac:cxnSpMkLst>
        </pc:cxnChg>
      </pc:sldChg>
      <pc:sldChg chg="addSp modSp add del">
        <pc:chgData name="Gracie A Chewning" userId="9de9d667-e019-4a85-82bf-b9f50f141a0d" providerId="ADAL" clId="{10056097-E2DC-43D6-8FE8-D2849467D502}" dt="2021-01-28T18:07:11.893" v="2161" actId="2696"/>
        <pc:sldMkLst>
          <pc:docMk/>
          <pc:sldMk cId="4021766402" sldId="2076137403"/>
        </pc:sldMkLst>
        <pc:spChg chg="mod">
          <ac:chgData name="Gracie A Chewning" userId="9de9d667-e019-4a85-82bf-b9f50f141a0d" providerId="ADAL" clId="{10056097-E2DC-43D6-8FE8-D2849467D502}" dt="2021-01-28T15:21:37.127" v="1403" actId="20577"/>
          <ac:spMkLst>
            <pc:docMk/>
            <pc:sldMk cId="4021766402" sldId="2076137403"/>
            <ac:spMk id="2" creationId="{DC1F8BF4-B2A7-4931-9F5C-B1E8F6529ED4}"/>
          </ac:spMkLst>
        </pc:spChg>
        <pc:spChg chg="mod">
          <ac:chgData name="Gracie A Chewning" userId="9de9d667-e019-4a85-82bf-b9f50f141a0d" providerId="ADAL" clId="{10056097-E2DC-43D6-8FE8-D2849467D502}" dt="2021-01-28T16:06:51.012" v="1861" actId="20577"/>
          <ac:spMkLst>
            <pc:docMk/>
            <pc:sldMk cId="4021766402" sldId="2076137403"/>
            <ac:spMk id="3" creationId="{FCDFF705-B355-4539-9130-1B0A0F29529A}"/>
          </ac:spMkLst>
        </pc:spChg>
        <pc:spChg chg="add mod">
          <ac:chgData name="Gracie A Chewning" userId="9de9d667-e019-4a85-82bf-b9f50f141a0d" providerId="ADAL" clId="{10056097-E2DC-43D6-8FE8-D2849467D502}" dt="2021-01-28T15:25:16.628" v="1829" actId="14100"/>
          <ac:spMkLst>
            <pc:docMk/>
            <pc:sldMk cId="4021766402" sldId="2076137403"/>
            <ac:spMk id="4" creationId="{EA641B23-AC38-46EC-A6E1-C5C570CD0F93}"/>
          </ac:spMkLst>
        </pc:spChg>
      </pc:sldChg>
      <pc:sldChg chg="modSp ord">
        <pc:chgData name="Gracie A Chewning" userId="9de9d667-e019-4a85-82bf-b9f50f141a0d" providerId="ADAL" clId="{10056097-E2DC-43D6-8FE8-D2849467D502}" dt="2021-01-28T17:47:13.226" v="1930"/>
        <pc:sldMkLst>
          <pc:docMk/>
          <pc:sldMk cId="1747900493" sldId="2076137404"/>
        </pc:sldMkLst>
        <pc:spChg chg="mod">
          <ac:chgData name="Gracie A Chewning" userId="9de9d667-e019-4a85-82bf-b9f50f141a0d" providerId="ADAL" clId="{10056097-E2DC-43D6-8FE8-D2849467D502}" dt="2021-01-28T17:43:23.562" v="1904" actId="20577"/>
          <ac:spMkLst>
            <pc:docMk/>
            <pc:sldMk cId="1747900493" sldId="2076137404"/>
            <ac:spMk id="5" creationId="{DCDD0A90-3E45-4A7E-AD19-64D73FEF1191}"/>
          </ac:spMkLst>
        </pc:spChg>
        <pc:spChg chg="mod">
          <ac:chgData name="Gracie A Chewning" userId="9de9d667-e019-4a85-82bf-b9f50f141a0d" providerId="ADAL" clId="{10056097-E2DC-43D6-8FE8-D2849467D502}" dt="2021-01-28T17:43:40.059" v="1905" actId="207"/>
          <ac:spMkLst>
            <pc:docMk/>
            <pc:sldMk cId="1747900493" sldId="2076137404"/>
            <ac:spMk id="7" creationId="{BF3BD51B-0D39-487F-8C5B-7CDAB112BBAB}"/>
          </ac:spMkLst>
        </pc:spChg>
      </pc:sldChg>
      <pc:sldChg chg="modSp add">
        <pc:chgData name="Gracie A Chewning" userId="9de9d667-e019-4a85-82bf-b9f50f141a0d" providerId="ADAL" clId="{10056097-E2DC-43D6-8FE8-D2849467D502}" dt="2021-01-28T17:46:49.364" v="1929" actId="20577"/>
        <pc:sldMkLst>
          <pc:docMk/>
          <pc:sldMk cId="2237677297" sldId="2076137405"/>
        </pc:sldMkLst>
        <pc:spChg chg="mod">
          <ac:chgData name="Gracie A Chewning" userId="9de9d667-e019-4a85-82bf-b9f50f141a0d" providerId="ADAL" clId="{10056097-E2DC-43D6-8FE8-D2849467D502}" dt="2021-01-28T17:46:49.364" v="1929" actId="20577"/>
          <ac:spMkLst>
            <pc:docMk/>
            <pc:sldMk cId="2237677297" sldId="2076137405"/>
            <ac:spMk id="5" creationId="{DCDD0A90-3E45-4A7E-AD19-64D73FEF1191}"/>
          </ac:spMkLst>
        </pc:spChg>
      </pc:sldChg>
      <pc:sldChg chg="addSp modSp">
        <pc:chgData name="Gracie A Chewning" userId="9de9d667-e019-4a85-82bf-b9f50f141a0d" providerId="ADAL" clId="{10056097-E2DC-43D6-8FE8-D2849467D502}" dt="2021-02-01T16:40:10.996" v="2591" actId="1582"/>
        <pc:sldMkLst>
          <pc:docMk/>
          <pc:sldMk cId="2267385378" sldId="2076137406"/>
        </pc:sldMkLst>
        <pc:spChg chg="mod">
          <ac:chgData name="Gracie A Chewning" userId="9de9d667-e019-4a85-82bf-b9f50f141a0d" providerId="ADAL" clId="{10056097-E2DC-43D6-8FE8-D2849467D502}" dt="2021-01-28T18:03:12.509" v="2151" actId="20577"/>
          <ac:spMkLst>
            <pc:docMk/>
            <pc:sldMk cId="2267385378" sldId="2076137406"/>
            <ac:spMk id="8" creationId="{62CA0B21-B744-FE43-A932-81C21120730C}"/>
          </ac:spMkLst>
        </pc:spChg>
        <pc:spChg chg="mod">
          <ac:chgData name="Gracie A Chewning" userId="9de9d667-e019-4a85-82bf-b9f50f141a0d" providerId="ADAL" clId="{10056097-E2DC-43D6-8FE8-D2849467D502}" dt="2021-02-01T16:29:05.790" v="2573" actId="164"/>
          <ac:spMkLst>
            <pc:docMk/>
            <pc:sldMk cId="2267385378" sldId="2076137406"/>
            <ac:spMk id="25" creationId="{62E2E481-4606-4BD4-8D5E-F25AB30BF51F}"/>
          </ac:spMkLst>
        </pc:spChg>
        <pc:grpChg chg="add mod">
          <ac:chgData name="Gracie A Chewning" userId="9de9d667-e019-4a85-82bf-b9f50f141a0d" providerId="ADAL" clId="{10056097-E2DC-43D6-8FE8-D2849467D502}" dt="2021-02-01T16:40:03.495" v="2590" actId="1076"/>
          <ac:grpSpMkLst>
            <pc:docMk/>
            <pc:sldMk cId="2267385378" sldId="2076137406"/>
            <ac:grpSpMk id="2" creationId="{1BD9247F-F62C-486F-B46F-28CF756A8DB2}"/>
          </ac:grpSpMkLst>
        </pc:grpChg>
        <pc:picChg chg="mod">
          <ac:chgData name="Gracie A Chewning" userId="9de9d667-e019-4a85-82bf-b9f50f141a0d" providerId="ADAL" clId="{10056097-E2DC-43D6-8FE8-D2849467D502}" dt="2021-02-01T16:40:10.996" v="2591" actId="1582"/>
          <ac:picMkLst>
            <pc:docMk/>
            <pc:sldMk cId="2267385378" sldId="2076137406"/>
            <ac:picMk id="13" creationId="{67568EFF-B6A4-431D-9B06-5F7A4796D58C}"/>
          </ac:picMkLst>
        </pc:picChg>
      </pc:sldChg>
      <pc:sldChg chg="delSp modSp">
        <pc:chgData name="Gracie A Chewning" userId="9de9d667-e019-4a85-82bf-b9f50f141a0d" providerId="ADAL" clId="{10056097-E2DC-43D6-8FE8-D2849467D502}" dt="2021-02-01T16:40:17.363" v="2592" actId="1582"/>
        <pc:sldMkLst>
          <pc:docMk/>
          <pc:sldMk cId="1554193894" sldId="2076137407"/>
        </pc:sldMkLst>
        <pc:spChg chg="mod">
          <ac:chgData name="Gracie A Chewning" userId="9de9d667-e019-4a85-82bf-b9f50f141a0d" providerId="ADAL" clId="{10056097-E2DC-43D6-8FE8-D2849467D502}" dt="2021-01-28T18:03:16.688" v="2153" actId="20577"/>
          <ac:spMkLst>
            <pc:docMk/>
            <pc:sldMk cId="1554193894" sldId="2076137407"/>
            <ac:spMk id="8" creationId="{62CA0B21-B744-FE43-A932-81C21120730C}"/>
          </ac:spMkLst>
        </pc:spChg>
        <pc:spChg chg="del">
          <ac:chgData name="Gracie A Chewning" userId="9de9d667-e019-4a85-82bf-b9f50f141a0d" providerId="ADAL" clId="{10056097-E2DC-43D6-8FE8-D2849467D502}" dt="2021-01-28T19:23:51.793" v="2386" actId="478"/>
          <ac:spMkLst>
            <pc:docMk/>
            <pc:sldMk cId="1554193894" sldId="2076137407"/>
            <ac:spMk id="10" creationId="{5754A8D7-D558-4E86-9EF4-06CB07F25875}"/>
          </ac:spMkLst>
        </pc:spChg>
        <pc:spChg chg="mod">
          <ac:chgData name="Gracie A Chewning" userId="9de9d667-e019-4a85-82bf-b9f50f141a0d" providerId="ADAL" clId="{10056097-E2DC-43D6-8FE8-D2849467D502}" dt="2021-01-28T18:07:58.693" v="2179" actId="20577"/>
          <ac:spMkLst>
            <pc:docMk/>
            <pc:sldMk cId="1554193894" sldId="2076137407"/>
            <ac:spMk id="21" creationId="{97484700-38C9-49CC-AFE3-401E5C2E2E73}"/>
          </ac:spMkLst>
        </pc:spChg>
        <pc:picChg chg="mod">
          <ac:chgData name="Gracie A Chewning" userId="9de9d667-e019-4a85-82bf-b9f50f141a0d" providerId="ADAL" clId="{10056097-E2DC-43D6-8FE8-D2849467D502}" dt="2021-02-01T16:40:17.363" v="2592" actId="1582"/>
          <ac:picMkLst>
            <pc:docMk/>
            <pc:sldMk cId="1554193894" sldId="2076137407"/>
            <ac:picMk id="13" creationId="{2FA7B60E-E54A-4A72-840E-A25414737732}"/>
          </ac:picMkLst>
        </pc:picChg>
      </pc:sldChg>
      <pc:sldChg chg="addSp delSp modSp add addCm delCm modCm">
        <pc:chgData name="Gracie A Chewning" userId="9de9d667-e019-4a85-82bf-b9f50f141a0d" providerId="ADAL" clId="{10056097-E2DC-43D6-8FE8-D2849467D502}" dt="2021-02-01T16:39:45.050" v="2587" actId="1582"/>
        <pc:sldMkLst>
          <pc:docMk/>
          <pc:sldMk cId="1610434797" sldId="2076137408"/>
        </pc:sldMkLst>
        <pc:spChg chg="del">
          <ac:chgData name="Gracie A Chewning" userId="9de9d667-e019-4a85-82bf-b9f50f141a0d" providerId="ADAL" clId="{10056097-E2DC-43D6-8FE8-D2849467D502}" dt="2021-01-28T18:18:52.555" v="2288" actId="478"/>
          <ac:spMkLst>
            <pc:docMk/>
            <pc:sldMk cId="1610434797" sldId="2076137408"/>
            <ac:spMk id="2" creationId="{DBB453A1-70FF-4446-AA8B-6C396681D3BA}"/>
          </ac:spMkLst>
        </pc:spChg>
        <pc:spChg chg="mod">
          <ac:chgData name="Gracie A Chewning" userId="9de9d667-e019-4a85-82bf-b9f50f141a0d" providerId="ADAL" clId="{10056097-E2DC-43D6-8FE8-D2849467D502}" dt="2021-01-28T18:26:11.309" v="2379" actId="1076"/>
          <ac:spMkLst>
            <pc:docMk/>
            <pc:sldMk cId="1610434797" sldId="2076137408"/>
            <ac:spMk id="3" creationId="{B5B486A6-990C-4AE6-B9D6-6C7ACECE66F4}"/>
          </ac:spMkLst>
        </pc:spChg>
        <pc:spChg chg="add mod">
          <ac:chgData name="Gracie A Chewning" userId="9de9d667-e019-4a85-82bf-b9f50f141a0d" providerId="ADAL" clId="{10056097-E2DC-43D6-8FE8-D2849467D502}" dt="2021-01-28T18:26:18.767" v="2380" actId="1076"/>
          <ac:spMkLst>
            <pc:docMk/>
            <pc:sldMk cId="1610434797" sldId="2076137408"/>
            <ac:spMk id="4" creationId="{15F9C3BD-016D-4D09-ABF1-AAFBC9D136B5}"/>
          </ac:spMkLst>
        </pc:spChg>
        <pc:spChg chg="add mod">
          <ac:chgData name="Gracie A Chewning" userId="9de9d667-e019-4a85-82bf-b9f50f141a0d" providerId="ADAL" clId="{10056097-E2DC-43D6-8FE8-D2849467D502}" dt="2021-01-28T18:25:54.263" v="2376" actId="1076"/>
          <ac:spMkLst>
            <pc:docMk/>
            <pc:sldMk cId="1610434797" sldId="2076137408"/>
            <ac:spMk id="5" creationId="{26E0D95D-3DB6-4A31-A309-C8DDA1B89AFB}"/>
          </ac:spMkLst>
        </pc:spChg>
        <pc:spChg chg="add mod">
          <ac:chgData name="Gracie A Chewning" userId="9de9d667-e019-4a85-82bf-b9f50f141a0d" providerId="ADAL" clId="{10056097-E2DC-43D6-8FE8-D2849467D502}" dt="2021-01-28T18:25:54.263" v="2376" actId="1076"/>
          <ac:spMkLst>
            <pc:docMk/>
            <pc:sldMk cId="1610434797" sldId="2076137408"/>
            <ac:spMk id="6" creationId="{BBC6B144-D3B5-4229-9EBF-D670E273DD09}"/>
          </ac:spMkLst>
        </pc:spChg>
        <pc:spChg chg="mod">
          <ac:chgData name="Gracie A Chewning" userId="9de9d667-e019-4a85-82bf-b9f50f141a0d" providerId="ADAL" clId="{10056097-E2DC-43D6-8FE8-D2849467D502}" dt="2021-01-28T18:17:29.088" v="2224" actId="5793"/>
          <ac:spMkLst>
            <pc:docMk/>
            <pc:sldMk cId="1610434797" sldId="2076137408"/>
            <ac:spMk id="8" creationId="{62CA0B21-B744-FE43-A932-81C21120730C}"/>
          </ac:spMkLst>
        </pc:spChg>
        <pc:spChg chg="add mod ord">
          <ac:chgData name="Gracie A Chewning" userId="9de9d667-e019-4a85-82bf-b9f50f141a0d" providerId="ADAL" clId="{10056097-E2DC-43D6-8FE8-D2849467D502}" dt="2021-01-28T18:25:54.263" v="2376" actId="1076"/>
          <ac:spMkLst>
            <pc:docMk/>
            <pc:sldMk cId="1610434797" sldId="2076137408"/>
            <ac:spMk id="9" creationId="{158C4595-E1F3-42A4-BF40-CF304C43227C}"/>
          </ac:spMkLst>
        </pc:spChg>
        <pc:spChg chg="del">
          <ac:chgData name="Gracie A Chewning" userId="9de9d667-e019-4a85-82bf-b9f50f141a0d" providerId="ADAL" clId="{10056097-E2DC-43D6-8FE8-D2849467D502}" dt="2021-01-28T18:18:45.933" v="2287" actId="478"/>
          <ac:spMkLst>
            <pc:docMk/>
            <pc:sldMk cId="1610434797" sldId="2076137408"/>
            <ac:spMk id="10" creationId="{5754A8D7-D558-4E86-9EF4-06CB07F25875}"/>
          </ac:spMkLst>
        </pc:spChg>
        <pc:spChg chg="mod">
          <ac:chgData name="Gracie A Chewning" userId="9de9d667-e019-4a85-82bf-b9f50f141a0d" providerId="ADAL" clId="{10056097-E2DC-43D6-8FE8-D2849467D502}" dt="2021-02-01T16:28:19.014" v="2566" actId="2085"/>
          <ac:spMkLst>
            <pc:docMk/>
            <pc:sldMk cId="1610434797" sldId="2076137408"/>
            <ac:spMk id="15" creationId="{53C67D9E-51A2-487D-8301-9A6D3B54BE50}"/>
          </ac:spMkLst>
        </pc:spChg>
        <pc:spChg chg="add mod">
          <ac:chgData name="Gracie A Chewning" userId="9de9d667-e019-4a85-82bf-b9f50f141a0d" providerId="ADAL" clId="{10056097-E2DC-43D6-8FE8-D2849467D502}" dt="2021-01-28T18:26:18.767" v="2380" actId="1076"/>
          <ac:spMkLst>
            <pc:docMk/>
            <pc:sldMk cId="1610434797" sldId="2076137408"/>
            <ac:spMk id="16" creationId="{11880F02-5366-4083-9EEE-BBECCC089AB9}"/>
          </ac:spMkLst>
        </pc:spChg>
        <pc:spChg chg="mod">
          <ac:chgData name="Gracie A Chewning" userId="9de9d667-e019-4a85-82bf-b9f50f141a0d" providerId="ADAL" clId="{10056097-E2DC-43D6-8FE8-D2849467D502}" dt="2021-01-28T18:26:25.545" v="2381" actId="113"/>
          <ac:spMkLst>
            <pc:docMk/>
            <pc:sldMk cId="1610434797" sldId="2076137408"/>
            <ac:spMk id="21" creationId="{97484700-38C9-49CC-AFE3-401E5C2E2E73}"/>
          </ac:spMkLst>
        </pc:spChg>
        <pc:spChg chg="add mod">
          <ac:chgData name="Gracie A Chewning" userId="9de9d667-e019-4a85-82bf-b9f50f141a0d" providerId="ADAL" clId="{10056097-E2DC-43D6-8FE8-D2849467D502}" dt="2021-02-01T16:28:11.054" v="2565" actId="164"/>
          <ac:spMkLst>
            <pc:docMk/>
            <pc:sldMk cId="1610434797" sldId="2076137408"/>
            <ac:spMk id="22" creationId="{FFC55842-1B29-41F2-B0B3-8F892A1FE746}"/>
          </ac:spMkLst>
        </pc:spChg>
        <pc:grpChg chg="add mod">
          <ac:chgData name="Gracie A Chewning" userId="9de9d667-e019-4a85-82bf-b9f50f141a0d" providerId="ADAL" clId="{10056097-E2DC-43D6-8FE8-D2849467D502}" dt="2021-02-01T16:28:11.054" v="2565" actId="164"/>
          <ac:grpSpMkLst>
            <pc:docMk/>
            <pc:sldMk cId="1610434797" sldId="2076137408"/>
            <ac:grpSpMk id="2" creationId="{F5266D45-A80A-4A0A-809B-DC2F07FA5700}"/>
          </ac:grpSpMkLst>
        </pc:grpChg>
        <pc:grpChg chg="mod">
          <ac:chgData name="Gracie A Chewning" userId="9de9d667-e019-4a85-82bf-b9f50f141a0d" providerId="ADAL" clId="{10056097-E2DC-43D6-8FE8-D2849467D502}" dt="2021-02-01T16:28:11.054" v="2565" actId="164"/>
          <ac:grpSpMkLst>
            <pc:docMk/>
            <pc:sldMk cId="1610434797" sldId="2076137408"/>
            <ac:grpSpMk id="17" creationId="{9415BD70-98DA-41BB-B1A9-1A03D0102CC5}"/>
          </ac:grpSpMkLst>
        </pc:grpChg>
        <pc:picChg chg="mod modCrop">
          <ac:chgData name="Gracie A Chewning" userId="9de9d667-e019-4a85-82bf-b9f50f141a0d" providerId="ADAL" clId="{10056097-E2DC-43D6-8FE8-D2849467D502}" dt="2021-02-01T16:39:45.050" v="2587" actId="1582"/>
          <ac:picMkLst>
            <pc:docMk/>
            <pc:sldMk cId="1610434797" sldId="2076137408"/>
            <ac:picMk id="13" creationId="{2FA7B60E-E54A-4A72-840E-A25414737732}"/>
          </ac:picMkLst>
        </pc:picChg>
      </pc:sldChg>
      <pc:sldChg chg="del">
        <pc:chgData name="Gracie A Chewning" userId="9de9d667-e019-4a85-82bf-b9f50f141a0d" providerId="ADAL" clId="{10056097-E2DC-43D6-8FE8-D2849467D502}" dt="2021-01-28T18:07:17.507" v="2162" actId="2696"/>
        <pc:sldMkLst>
          <pc:docMk/>
          <pc:sldMk cId="2063250650" sldId="2076137408"/>
        </pc:sldMkLst>
      </pc:sldChg>
      <pc:sldChg chg="delSp modSp">
        <pc:chgData name="Gracie A Chewning" userId="9de9d667-e019-4a85-82bf-b9f50f141a0d" providerId="ADAL" clId="{10056097-E2DC-43D6-8FE8-D2849467D502}" dt="2021-02-01T16:40:25.158" v="2593" actId="1582"/>
        <pc:sldMkLst>
          <pc:docMk/>
          <pc:sldMk cId="1809696343" sldId="2076137409"/>
        </pc:sldMkLst>
        <pc:spChg chg="del topLvl">
          <ac:chgData name="Gracie A Chewning" userId="9de9d667-e019-4a85-82bf-b9f50f141a0d" providerId="ADAL" clId="{10056097-E2DC-43D6-8FE8-D2849467D502}" dt="2021-02-01T16:29:20.885" v="2576" actId="478"/>
          <ac:spMkLst>
            <pc:docMk/>
            <pc:sldMk cId="1809696343" sldId="2076137409"/>
            <ac:spMk id="15" creationId="{53C67D9E-51A2-487D-8301-9A6D3B54BE50}"/>
          </ac:spMkLst>
        </pc:spChg>
        <pc:grpChg chg="del">
          <ac:chgData name="Gracie A Chewning" userId="9de9d667-e019-4a85-82bf-b9f50f141a0d" providerId="ADAL" clId="{10056097-E2DC-43D6-8FE8-D2849467D502}" dt="2021-02-01T16:29:20.885" v="2576" actId="478"/>
          <ac:grpSpMkLst>
            <pc:docMk/>
            <pc:sldMk cId="1809696343" sldId="2076137409"/>
            <ac:grpSpMk id="17" creationId="{9415BD70-98DA-41BB-B1A9-1A03D0102CC5}"/>
          </ac:grpSpMkLst>
        </pc:grpChg>
        <pc:picChg chg="mod topLvl">
          <ac:chgData name="Gracie A Chewning" userId="9de9d667-e019-4a85-82bf-b9f50f141a0d" providerId="ADAL" clId="{10056097-E2DC-43D6-8FE8-D2849467D502}" dt="2021-02-01T16:40:25.158" v="2593" actId="1582"/>
          <ac:picMkLst>
            <pc:docMk/>
            <pc:sldMk cId="1809696343" sldId="2076137409"/>
            <ac:picMk id="13" creationId="{2FA7B60E-E54A-4A72-840E-A25414737732}"/>
          </ac:picMkLst>
        </pc:picChg>
      </pc:sldChg>
    </pc:docChg>
  </pc:docChgLst>
  <pc:docChgLst>
    <pc:chgData name="Maclaren-Hall, Jerilyn" userId="9a1f7aff-8a73-4de1-9779-572b1541991f" providerId="ADAL" clId="{838AA7B8-036C-4441-8E10-D7E076BC8255}"/>
    <pc:docChg chg="custSel modSld">
      <pc:chgData name="Maclaren-Hall, Jerilyn" userId="9a1f7aff-8a73-4de1-9779-572b1541991f" providerId="ADAL" clId="{838AA7B8-036C-4441-8E10-D7E076BC8255}" dt="2021-01-29T21:08:47.793" v="19"/>
      <pc:docMkLst>
        <pc:docMk/>
      </pc:docMkLst>
      <pc:sldChg chg="addCm modCm">
        <pc:chgData name="Maclaren-Hall, Jerilyn" userId="9a1f7aff-8a73-4de1-9779-572b1541991f" providerId="ADAL" clId="{838AA7B8-036C-4441-8E10-D7E076BC8255}" dt="2021-01-29T20:53:23.984" v="3"/>
        <pc:sldMkLst>
          <pc:docMk/>
          <pc:sldMk cId="3119417520" sldId="9026"/>
        </pc:sldMkLst>
      </pc:sldChg>
      <pc:sldChg chg="addCm modCm">
        <pc:chgData name="Maclaren-Hall, Jerilyn" userId="9a1f7aff-8a73-4de1-9779-572b1541991f" providerId="ADAL" clId="{838AA7B8-036C-4441-8E10-D7E076BC8255}" dt="2021-01-29T20:52:01.691" v="1"/>
        <pc:sldMkLst>
          <pc:docMk/>
          <pc:sldMk cId="1789405769" sldId="2076137379"/>
        </pc:sldMkLst>
      </pc:sldChg>
      <pc:sldChg chg="addCm modCm">
        <pc:chgData name="Maclaren-Hall, Jerilyn" userId="9a1f7aff-8a73-4de1-9779-572b1541991f" providerId="ADAL" clId="{838AA7B8-036C-4441-8E10-D7E076BC8255}" dt="2021-01-29T20:55:02.327" v="5"/>
        <pc:sldMkLst>
          <pc:docMk/>
          <pc:sldMk cId="540838727" sldId="2076137387"/>
        </pc:sldMkLst>
      </pc:sldChg>
      <pc:sldChg chg="addCm modCm">
        <pc:chgData name="Maclaren-Hall, Jerilyn" userId="9a1f7aff-8a73-4de1-9779-572b1541991f" providerId="ADAL" clId="{838AA7B8-036C-4441-8E10-D7E076BC8255}" dt="2021-01-29T21:02:05.820" v="12"/>
        <pc:sldMkLst>
          <pc:docMk/>
          <pc:sldMk cId="1067674525" sldId="2076137394"/>
        </pc:sldMkLst>
      </pc:sldChg>
      <pc:sldChg chg="addCm modCm">
        <pc:chgData name="Maclaren-Hall, Jerilyn" userId="9a1f7aff-8a73-4de1-9779-572b1541991f" providerId="ADAL" clId="{838AA7B8-036C-4441-8E10-D7E076BC8255}" dt="2021-01-29T20:56:24.342" v="7"/>
        <pc:sldMkLst>
          <pc:docMk/>
          <pc:sldMk cId="3773699427" sldId="2076137397"/>
        </pc:sldMkLst>
      </pc:sldChg>
      <pc:sldChg chg="modSp mod">
        <pc:chgData name="Maclaren-Hall, Jerilyn" userId="9a1f7aff-8a73-4de1-9779-572b1541991f" providerId="ADAL" clId="{838AA7B8-036C-4441-8E10-D7E076BC8255}" dt="2021-01-29T21:03:09.576" v="13" actId="20577"/>
        <pc:sldMkLst>
          <pc:docMk/>
          <pc:sldMk cId="249564304" sldId="2076137401"/>
        </pc:sldMkLst>
        <pc:spChg chg="mod">
          <ac:chgData name="Maclaren-Hall, Jerilyn" userId="9a1f7aff-8a73-4de1-9779-572b1541991f" providerId="ADAL" clId="{838AA7B8-036C-4441-8E10-D7E076BC8255}" dt="2021-01-29T21:03:09.576" v="13" actId="20577"/>
          <ac:spMkLst>
            <pc:docMk/>
            <pc:sldMk cId="249564304" sldId="2076137401"/>
            <ac:spMk id="18" creationId="{5921E684-25A7-46D3-9CCC-3FDDFD15B4D9}"/>
          </ac:spMkLst>
        </pc:spChg>
      </pc:sldChg>
      <pc:sldChg chg="addCm modCm">
        <pc:chgData name="Maclaren-Hall, Jerilyn" userId="9a1f7aff-8a73-4de1-9779-572b1541991f" providerId="ADAL" clId="{838AA7B8-036C-4441-8E10-D7E076BC8255}" dt="2021-01-29T21:05:59.921" v="17"/>
        <pc:sldMkLst>
          <pc:docMk/>
          <pc:sldMk cId="1610434797" sldId="2076137408"/>
        </pc:sldMkLst>
      </pc:sldChg>
      <pc:sldChg chg="addCm modCm">
        <pc:chgData name="Maclaren-Hall, Jerilyn" userId="9a1f7aff-8a73-4de1-9779-572b1541991f" providerId="ADAL" clId="{838AA7B8-036C-4441-8E10-D7E076BC8255}" dt="2021-01-29T21:08:47.793" v="19"/>
        <pc:sldMkLst>
          <pc:docMk/>
          <pc:sldMk cId="1809696343" sldId="2076137409"/>
        </pc:sldMkLst>
      </pc:sldChg>
    </pc:docChg>
  </pc:docChgLst>
  <pc:docChgLst>
    <pc:chgData name="Nate J Engel" userId="ceb1fc4a-eb95-4a90-b3f7-3b6e871c5963" providerId="ADAL" clId="{D900D039-E41E-4A86-B10C-9A20AEADBFF1}"/>
    <pc:docChg chg="undo custSel addSld delSld modSld">
      <pc:chgData name="Nate J Engel" userId="ceb1fc4a-eb95-4a90-b3f7-3b6e871c5963" providerId="ADAL" clId="{D900D039-E41E-4A86-B10C-9A20AEADBFF1}" dt="2021-02-01T17:05:15.442" v="4135" actId="1592"/>
      <pc:docMkLst>
        <pc:docMk/>
      </pc:docMkLst>
      <pc:sldChg chg="addSp modSp delCm">
        <pc:chgData name="Nate J Engel" userId="ceb1fc4a-eb95-4a90-b3f7-3b6e871c5963" providerId="ADAL" clId="{D900D039-E41E-4A86-B10C-9A20AEADBFF1}" dt="2021-02-01T16:28:17.239" v="2819" actId="1592"/>
        <pc:sldMkLst>
          <pc:docMk/>
          <pc:sldMk cId="3119417520" sldId="9026"/>
        </pc:sldMkLst>
        <pc:spChg chg="add mod">
          <ac:chgData name="Nate J Engel" userId="ceb1fc4a-eb95-4a90-b3f7-3b6e871c5963" providerId="ADAL" clId="{D900D039-E41E-4A86-B10C-9A20AEADBFF1}" dt="2021-02-01T16:27:22.764" v="2811" actId="164"/>
          <ac:spMkLst>
            <pc:docMk/>
            <pc:sldMk cId="3119417520" sldId="9026"/>
            <ac:spMk id="23" creationId="{3329D3F5-6ADF-48A0-AACB-ABFEE0F2B21B}"/>
          </ac:spMkLst>
        </pc:spChg>
        <pc:spChg chg="mod">
          <ac:chgData name="Nate J Engel" userId="ceb1fc4a-eb95-4a90-b3f7-3b6e871c5963" providerId="ADAL" clId="{D900D039-E41E-4A86-B10C-9A20AEADBFF1}" dt="2021-02-01T16:25:47.349" v="2638" actId="1076"/>
          <ac:spMkLst>
            <pc:docMk/>
            <pc:sldMk cId="3119417520" sldId="9026"/>
            <ac:spMk id="25" creationId="{5319982C-F52D-41EF-9299-3C474627C11E}"/>
          </ac:spMkLst>
        </pc:spChg>
        <pc:spChg chg="mod">
          <ac:chgData name="Nate J Engel" userId="ceb1fc4a-eb95-4a90-b3f7-3b6e871c5963" providerId="ADAL" clId="{D900D039-E41E-4A86-B10C-9A20AEADBFF1}" dt="2021-02-01T16:25:52.317" v="2639" actId="1076"/>
          <ac:spMkLst>
            <pc:docMk/>
            <pc:sldMk cId="3119417520" sldId="9026"/>
            <ac:spMk id="26" creationId="{ABC872CB-415F-4A37-9F64-8BF5F389AB82}"/>
          </ac:spMkLst>
        </pc:spChg>
        <pc:spChg chg="mod">
          <ac:chgData name="Nate J Engel" userId="ceb1fc4a-eb95-4a90-b3f7-3b6e871c5963" providerId="ADAL" clId="{D900D039-E41E-4A86-B10C-9A20AEADBFF1}" dt="2021-02-01T16:27:30.405" v="2812" actId="164"/>
          <ac:spMkLst>
            <pc:docMk/>
            <pc:sldMk cId="3119417520" sldId="9026"/>
            <ac:spMk id="111" creationId="{42F95F95-EFE2-4B67-B4E1-A7D281B2179C}"/>
          </ac:spMkLst>
        </pc:spChg>
        <pc:spChg chg="mod">
          <ac:chgData name="Nate J Engel" userId="ceb1fc4a-eb95-4a90-b3f7-3b6e871c5963" providerId="ADAL" clId="{D900D039-E41E-4A86-B10C-9A20AEADBFF1}" dt="2021-02-01T16:27:00.382" v="2808" actId="164"/>
          <ac:spMkLst>
            <pc:docMk/>
            <pc:sldMk cId="3119417520" sldId="9026"/>
            <ac:spMk id="125" creationId="{2296636B-20F6-4D0D-8B9D-D398FF1A31E8}"/>
          </ac:spMkLst>
        </pc:spChg>
        <pc:spChg chg="mod">
          <ac:chgData name="Nate J Engel" userId="ceb1fc4a-eb95-4a90-b3f7-3b6e871c5963" providerId="ADAL" clId="{D900D039-E41E-4A86-B10C-9A20AEADBFF1}" dt="2021-02-01T16:27:12.877" v="2809" actId="164"/>
          <ac:spMkLst>
            <pc:docMk/>
            <pc:sldMk cId="3119417520" sldId="9026"/>
            <ac:spMk id="127" creationId="{78043F49-EA84-4411-B967-7E63151FE422}"/>
          </ac:spMkLst>
        </pc:spChg>
        <pc:spChg chg="mod">
          <ac:chgData name="Nate J Engel" userId="ceb1fc4a-eb95-4a90-b3f7-3b6e871c5963" providerId="ADAL" clId="{D900D039-E41E-4A86-B10C-9A20AEADBFF1}" dt="2021-02-01T16:27:18.336" v="2810" actId="164"/>
          <ac:spMkLst>
            <pc:docMk/>
            <pc:sldMk cId="3119417520" sldId="9026"/>
            <ac:spMk id="128" creationId="{6F16EBD6-6C97-4B1F-9F32-59588F590D7C}"/>
          </ac:spMkLst>
        </pc:spChg>
        <pc:spChg chg="mod">
          <ac:chgData name="Nate J Engel" userId="ceb1fc4a-eb95-4a90-b3f7-3b6e871c5963" providerId="ADAL" clId="{D900D039-E41E-4A86-B10C-9A20AEADBFF1}" dt="2021-02-01T16:28:13.979" v="2818" actId="1076"/>
          <ac:spMkLst>
            <pc:docMk/>
            <pc:sldMk cId="3119417520" sldId="9026"/>
            <ac:spMk id="136" creationId="{C43569DC-468C-494C-91E0-30003EB3706A}"/>
          </ac:spMkLst>
        </pc:spChg>
        <pc:grpChg chg="add mod">
          <ac:chgData name="Nate J Engel" userId="ceb1fc4a-eb95-4a90-b3f7-3b6e871c5963" providerId="ADAL" clId="{D900D039-E41E-4A86-B10C-9A20AEADBFF1}" dt="2021-02-01T16:27:53.704" v="2815" actId="465"/>
          <ac:grpSpMkLst>
            <pc:docMk/>
            <pc:sldMk cId="3119417520" sldId="9026"/>
            <ac:grpSpMk id="4" creationId="{C81ED768-D65B-4A82-BB05-CB1B56452102}"/>
          </ac:grpSpMkLst>
        </pc:grpChg>
        <pc:grpChg chg="add mod">
          <ac:chgData name="Nate J Engel" userId="ceb1fc4a-eb95-4a90-b3f7-3b6e871c5963" providerId="ADAL" clId="{D900D039-E41E-4A86-B10C-9A20AEADBFF1}" dt="2021-02-01T16:27:53.704" v="2815" actId="465"/>
          <ac:grpSpMkLst>
            <pc:docMk/>
            <pc:sldMk cId="3119417520" sldId="9026"/>
            <ac:grpSpMk id="5" creationId="{4E5AEFCC-397C-454C-AF42-24692D2BA761}"/>
          </ac:grpSpMkLst>
        </pc:grpChg>
        <pc:grpChg chg="add mod">
          <ac:chgData name="Nate J Engel" userId="ceb1fc4a-eb95-4a90-b3f7-3b6e871c5963" providerId="ADAL" clId="{D900D039-E41E-4A86-B10C-9A20AEADBFF1}" dt="2021-02-01T16:27:53.704" v="2815" actId="465"/>
          <ac:grpSpMkLst>
            <pc:docMk/>
            <pc:sldMk cId="3119417520" sldId="9026"/>
            <ac:grpSpMk id="6" creationId="{4F26D245-6B76-4B61-A7D7-51F5DE66A2BA}"/>
          </ac:grpSpMkLst>
        </pc:grpChg>
        <pc:grpChg chg="add mod">
          <ac:chgData name="Nate J Engel" userId="ceb1fc4a-eb95-4a90-b3f7-3b6e871c5963" providerId="ADAL" clId="{D900D039-E41E-4A86-B10C-9A20AEADBFF1}" dt="2021-02-01T16:27:53.704" v="2815" actId="465"/>
          <ac:grpSpMkLst>
            <pc:docMk/>
            <pc:sldMk cId="3119417520" sldId="9026"/>
            <ac:grpSpMk id="10" creationId="{33F389AE-3512-4F9C-AD82-F32BFE23D4A2}"/>
          </ac:grpSpMkLst>
        </pc:grpChg>
        <pc:grpChg chg="add mod">
          <ac:chgData name="Nate J Engel" userId="ceb1fc4a-eb95-4a90-b3f7-3b6e871c5963" providerId="ADAL" clId="{D900D039-E41E-4A86-B10C-9A20AEADBFF1}" dt="2021-02-01T16:27:53.704" v="2815" actId="465"/>
          <ac:grpSpMkLst>
            <pc:docMk/>
            <pc:sldMk cId="3119417520" sldId="9026"/>
            <ac:grpSpMk id="11" creationId="{44145D21-7409-4FE3-9974-111367F37DC5}"/>
          </ac:grpSpMkLst>
        </pc:grpChg>
        <pc:grpChg chg="add mod">
          <ac:chgData name="Nate J Engel" userId="ceb1fc4a-eb95-4a90-b3f7-3b6e871c5963" providerId="ADAL" clId="{D900D039-E41E-4A86-B10C-9A20AEADBFF1}" dt="2021-02-01T16:27:22.764" v="2811" actId="164"/>
          <ac:grpSpMkLst>
            <pc:docMk/>
            <pc:sldMk cId="3119417520" sldId="9026"/>
            <ac:grpSpMk id="24" creationId="{33C6457E-0F08-4D77-ABB6-BDC4A532B36B}"/>
          </ac:grpSpMkLst>
        </pc:grpChg>
        <pc:grpChg chg="mod">
          <ac:chgData name="Nate J Engel" userId="ceb1fc4a-eb95-4a90-b3f7-3b6e871c5963" providerId="ADAL" clId="{D900D039-E41E-4A86-B10C-9A20AEADBFF1}" dt="2021-02-01T16:27:30.405" v="2812" actId="164"/>
          <ac:grpSpMkLst>
            <pc:docMk/>
            <pc:sldMk cId="3119417520" sldId="9026"/>
            <ac:grpSpMk id="121" creationId="{B799FF1D-8077-4A86-BF14-C02C996C8717}"/>
          </ac:grpSpMkLst>
        </pc:grpChg>
        <pc:grpChg chg="mod">
          <ac:chgData name="Nate J Engel" userId="ceb1fc4a-eb95-4a90-b3f7-3b6e871c5963" providerId="ADAL" clId="{D900D039-E41E-4A86-B10C-9A20AEADBFF1}" dt="2021-02-01T16:27:53.704" v="2815" actId="465"/>
          <ac:grpSpMkLst>
            <pc:docMk/>
            <pc:sldMk cId="3119417520" sldId="9026"/>
            <ac:grpSpMk id="134" creationId="{335B7B84-37C2-4D53-9034-8360485F2E26}"/>
          </ac:grpSpMkLst>
        </pc:grpChg>
        <pc:grpChg chg="mod">
          <ac:chgData name="Nate J Engel" userId="ceb1fc4a-eb95-4a90-b3f7-3b6e871c5963" providerId="ADAL" clId="{D900D039-E41E-4A86-B10C-9A20AEADBFF1}" dt="2021-02-01T16:27:53.704" v="2815" actId="465"/>
          <ac:grpSpMkLst>
            <pc:docMk/>
            <pc:sldMk cId="3119417520" sldId="9026"/>
            <ac:grpSpMk id="137" creationId="{71AE2E7F-018B-487B-B3A9-5D2CEBF4924D}"/>
          </ac:grpSpMkLst>
        </pc:grpChg>
        <pc:grpChg chg="mod">
          <ac:chgData name="Nate J Engel" userId="ceb1fc4a-eb95-4a90-b3f7-3b6e871c5963" providerId="ADAL" clId="{D900D039-E41E-4A86-B10C-9A20AEADBFF1}" dt="2021-02-01T16:27:53.704" v="2815" actId="465"/>
          <ac:grpSpMkLst>
            <pc:docMk/>
            <pc:sldMk cId="3119417520" sldId="9026"/>
            <ac:grpSpMk id="140" creationId="{B8E36F94-001A-48BB-ADA8-41759A388BD0}"/>
          </ac:grpSpMkLst>
        </pc:grpChg>
        <pc:cxnChg chg="mod">
          <ac:chgData name="Nate J Engel" userId="ceb1fc4a-eb95-4a90-b3f7-3b6e871c5963" providerId="ADAL" clId="{D900D039-E41E-4A86-B10C-9A20AEADBFF1}" dt="2021-02-01T16:28:03.362" v="2817" actId="14100"/>
          <ac:cxnSpMkLst>
            <pc:docMk/>
            <pc:sldMk cId="3119417520" sldId="9026"/>
            <ac:cxnSpMk id="96" creationId="{BE7EC605-5A7D-4396-A367-DB434D541FE6}"/>
          </ac:cxnSpMkLst>
        </pc:cxnChg>
      </pc:sldChg>
      <pc:sldChg chg="modSp">
        <pc:chgData name="Nate J Engel" userId="ceb1fc4a-eb95-4a90-b3f7-3b6e871c5963" providerId="ADAL" clId="{D900D039-E41E-4A86-B10C-9A20AEADBFF1}" dt="2021-02-01T16:45:46.704" v="2939" actId="2165"/>
        <pc:sldMkLst>
          <pc:docMk/>
          <pc:sldMk cId="3123279992" sldId="9070"/>
        </pc:sldMkLst>
        <pc:graphicFrameChg chg="modGraphic">
          <ac:chgData name="Nate J Engel" userId="ceb1fc4a-eb95-4a90-b3f7-3b6e871c5963" providerId="ADAL" clId="{D900D039-E41E-4A86-B10C-9A20AEADBFF1}" dt="2021-02-01T16:45:46.704" v="2939" actId="2165"/>
          <ac:graphicFrameMkLst>
            <pc:docMk/>
            <pc:sldMk cId="3123279992" sldId="9070"/>
            <ac:graphicFrameMk id="6" creationId="{78B1BD31-3AF9-4B81-93FC-7241460106EA}"/>
          </ac:graphicFrameMkLst>
        </pc:graphicFrameChg>
      </pc:sldChg>
      <pc:sldChg chg="modSp">
        <pc:chgData name="Nate J Engel" userId="ceb1fc4a-eb95-4a90-b3f7-3b6e871c5963" providerId="ADAL" clId="{D900D039-E41E-4A86-B10C-9A20AEADBFF1}" dt="2021-01-28T16:48:54.002" v="673" actId="20577"/>
        <pc:sldMkLst>
          <pc:docMk/>
          <pc:sldMk cId="450641459" sldId="9071"/>
        </pc:sldMkLst>
        <pc:spChg chg="mod">
          <ac:chgData name="Nate J Engel" userId="ceb1fc4a-eb95-4a90-b3f7-3b6e871c5963" providerId="ADAL" clId="{D900D039-E41E-4A86-B10C-9A20AEADBFF1}" dt="2021-01-28T16:48:54.002" v="673" actId="20577"/>
          <ac:spMkLst>
            <pc:docMk/>
            <pc:sldMk cId="450641459" sldId="9071"/>
            <ac:spMk id="6" creationId="{DD44C1A4-CC9D-4A4B-B32B-18DEC47A3A50}"/>
          </ac:spMkLst>
        </pc:spChg>
      </pc:sldChg>
      <pc:sldChg chg="modSp delCm">
        <pc:chgData name="Nate J Engel" userId="ceb1fc4a-eb95-4a90-b3f7-3b6e871c5963" providerId="ADAL" clId="{D900D039-E41E-4A86-B10C-9A20AEADBFF1}" dt="2021-01-28T16:22:55.379" v="302" actId="1592"/>
        <pc:sldMkLst>
          <pc:docMk/>
          <pc:sldMk cId="1447221636" sldId="9079"/>
        </pc:sldMkLst>
        <pc:spChg chg="mod">
          <ac:chgData name="Nate J Engel" userId="ceb1fc4a-eb95-4a90-b3f7-3b6e871c5963" providerId="ADAL" clId="{D900D039-E41E-4A86-B10C-9A20AEADBFF1}" dt="2021-01-28T16:22:00.566" v="271" actId="20577"/>
          <ac:spMkLst>
            <pc:docMk/>
            <pc:sldMk cId="1447221636" sldId="9079"/>
            <ac:spMk id="21" creationId="{97484700-38C9-49CC-AFE3-401E5C2E2E73}"/>
          </ac:spMkLst>
        </pc:spChg>
      </pc:sldChg>
      <pc:sldChg chg="modSp delCm">
        <pc:chgData name="Nate J Engel" userId="ceb1fc4a-eb95-4a90-b3f7-3b6e871c5963" providerId="ADAL" clId="{D900D039-E41E-4A86-B10C-9A20AEADBFF1}" dt="2021-02-01T16:24:09.728" v="2432" actId="1592"/>
        <pc:sldMkLst>
          <pc:docMk/>
          <pc:sldMk cId="1789405769" sldId="2076137379"/>
        </pc:sldMkLst>
        <pc:spChg chg="mod">
          <ac:chgData name="Nate J Engel" userId="ceb1fc4a-eb95-4a90-b3f7-3b6e871c5963" providerId="ADAL" clId="{D900D039-E41E-4A86-B10C-9A20AEADBFF1}" dt="2021-02-01T16:24:03.824" v="2431" actId="20577"/>
          <ac:spMkLst>
            <pc:docMk/>
            <pc:sldMk cId="1789405769" sldId="2076137379"/>
            <ac:spMk id="25" creationId="{6227318E-3AE6-468E-9E55-350B0DB33695}"/>
          </ac:spMkLst>
        </pc:spChg>
        <pc:spChg chg="mod">
          <ac:chgData name="Nate J Engel" userId="ceb1fc4a-eb95-4a90-b3f7-3b6e871c5963" providerId="ADAL" clId="{D900D039-E41E-4A86-B10C-9A20AEADBFF1}" dt="2021-02-01T16:23:01.065" v="2280" actId="1037"/>
          <ac:spMkLst>
            <pc:docMk/>
            <pc:sldMk cId="1789405769" sldId="2076137379"/>
            <ac:spMk id="27" creationId="{C24F804B-AE48-4EE4-AE60-79EF315B1F8E}"/>
          </ac:spMkLst>
        </pc:spChg>
        <pc:spChg chg="mod">
          <ac:chgData name="Nate J Engel" userId="ceb1fc4a-eb95-4a90-b3f7-3b6e871c5963" providerId="ADAL" clId="{D900D039-E41E-4A86-B10C-9A20AEADBFF1}" dt="2021-02-01T16:22:52.158" v="2238" actId="14100"/>
          <ac:spMkLst>
            <pc:docMk/>
            <pc:sldMk cId="1789405769" sldId="2076137379"/>
            <ac:spMk id="117" creationId="{9E59BA74-96F8-4AF2-88F8-386D2A84DF11}"/>
          </ac:spMkLst>
        </pc:spChg>
        <pc:spChg chg="mod">
          <ac:chgData name="Nate J Engel" userId="ceb1fc4a-eb95-4a90-b3f7-3b6e871c5963" providerId="ADAL" clId="{D900D039-E41E-4A86-B10C-9A20AEADBFF1}" dt="2021-02-01T16:23:17.901" v="2302" actId="1038"/>
          <ac:spMkLst>
            <pc:docMk/>
            <pc:sldMk cId="1789405769" sldId="2076137379"/>
            <ac:spMk id="118" creationId="{44898254-BB30-4468-8DA7-24C0E71FBE56}"/>
          </ac:spMkLst>
        </pc:spChg>
        <pc:spChg chg="mod">
          <ac:chgData name="Nate J Engel" userId="ceb1fc4a-eb95-4a90-b3f7-3b6e871c5963" providerId="ADAL" clId="{D900D039-E41E-4A86-B10C-9A20AEADBFF1}" dt="2021-02-01T16:23:01.065" v="2280" actId="1037"/>
          <ac:spMkLst>
            <pc:docMk/>
            <pc:sldMk cId="1789405769" sldId="2076137379"/>
            <ac:spMk id="122" creationId="{42DBCD26-26AE-4422-831C-44EA9FAEE12E}"/>
          </ac:spMkLst>
        </pc:spChg>
        <pc:picChg chg="mod">
          <ac:chgData name="Nate J Engel" userId="ceb1fc4a-eb95-4a90-b3f7-3b6e871c5963" providerId="ADAL" clId="{D900D039-E41E-4A86-B10C-9A20AEADBFF1}" dt="2021-02-01T16:23:01.065" v="2280" actId="1037"/>
          <ac:picMkLst>
            <pc:docMk/>
            <pc:sldMk cId="1789405769" sldId="2076137379"/>
            <ac:picMk id="11" creationId="{CD5801B6-13AA-4FD8-B45B-74658BB73C79}"/>
          </ac:picMkLst>
        </pc:picChg>
        <pc:picChg chg="mod">
          <ac:chgData name="Nate J Engel" userId="ceb1fc4a-eb95-4a90-b3f7-3b6e871c5963" providerId="ADAL" clId="{D900D039-E41E-4A86-B10C-9A20AEADBFF1}" dt="2021-02-01T16:23:17.901" v="2302" actId="1038"/>
          <ac:picMkLst>
            <pc:docMk/>
            <pc:sldMk cId="1789405769" sldId="2076137379"/>
            <ac:picMk id="14" creationId="{81E40366-7463-40BA-8E2D-299A81D8B3D8}"/>
          </ac:picMkLst>
        </pc:picChg>
        <pc:cxnChg chg="mod">
          <ac:chgData name="Nate J Engel" userId="ceb1fc4a-eb95-4a90-b3f7-3b6e871c5963" providerId="ADAL" clId="{D900D039-E41E-4A86-B10C-9A20AEADBFF1}" dt="2021-02-01T16:23:20.710" v="2329" actId="1038"/>
          <ac:cxnSpMkLst>
            <pc:docMk/>
            <pc:sldMk cId="1789405769" sldId="2076137379"/>
            <ac:cxnSpMk id="130" creationId="{1F19AC25-3327-44CA-A437-20360CC504DB}"/>
          </ac:cxnSpMkLst>
        </pc:cxnChg>
      </pc:sldChg>
      <pc:sldChg chg="addSp modSp delCm">
        <pc:chgData name="Nate J Engel" userId="ceb1fc4a-eb95-4a90-b3f7-3b6e871c5963" providerId="ADAL" clId="{D900D039-E41E-4A86-B10C-9A20AEADBFF1}" dt="2021-02-01T16:29:31.405" v="2929" actId="1592"/>
        <pc:sldMkLst>
          <pc:docMk/>
          <pc:sldMk cId="540838727" sldId="2076137387"/>
        </pc:sldMkLst>
        <pc:spChg chg="mod">
          <ac:chgData name="Nate J Engel" userId="ceb1fc4a-eb95-4a90-b3f7-3b6e871c5963" providerId="ADAL" clId="{D900D039-E41E-4A86-B10C-9A20AEADBFF1}" dt="2021-01-28T16:22:11.143" v="280" actId="20577"/>
          <ac:spMkLst>
            <pc:docMk/>
            <pc:sldMk cId="540838727" sldId="2076137387"/>
            <ac:spMk id="16" creationId="{F82660D4-174E-494B-8138-62CC2BD92056}"/>
          </ac:spMkLst>
        </pc:spChg>
        <pc:spChg chg="mod">
          <ac:chgData name="Nate J Engel" userId="ceb1fc4a-eb95-4a90-b3f7-3b6e871c5963" providerId="ADAL" clId="{D900D039-E41E-4A86-B10C-9A20AEADBFF1}" dt="2021-02-01T16:29:24.300" v="2928" actId="20577"/>
          <ac:spMkLst>
            <pc:docMk/>
            <pc:sldMk cId="540838727" sldId="2076137387"/>
            <ac:spMk id="21" creationId="{97484700-38C9-49CC-AFE3-401E5C2E2E73}"/>
          </ac:spMkLst>
        </pc:spChg>
        <pc:spChg chg="mod">
          <ac:chgData name="Nate J Engel" userId="ceb1fc4a-eb95-4a90-b3f7-3b6e871c5963" providerId="ADAL" clId="{D900D039-E41E-4A86-B10C-9A20AEADBFF1}" dt="2021-01-28T16:22:42.181" v="300" actId="164"/>
          <ac:spMkLst>
            <pc:docMk/>
            <pc:sldMk cId="540838727" sldId="2076137387"/>
            <ac:spMk id="25" creationId="{62E2E481-4606-4BD4-8D5E-F25AB30BF51F}"/>
          </ac:spMkLst>
        </pc:spChg>
        <pc:grpChg chg="add mod">
          <ac:chgData name="Nate J Engel" userId="ceb1fc4a-eb95-4a90-b3f7-3b6e871c5963" providerId="ADAL" clId="{D900D039-E41E-4A86-B10C-9A20AEADBFF1}" dt="2021-02-01T16:29:19.323" v="2927" actId="1076"/>
          <ac:grpSpMkLst>
            <pc:docMk/>
            <pc:sldMk cId="540838727" sldId="2076137387"/>
            <ac:grpSpMk id="2" creationId="{5857A596-44B1-4D86-BCC9-1A84DCE3534C}"/>
          </ac:grpSpMkLst>
        </pc:grpChg>
        <pc:picChg chg="mod">
          <ac:chgData name="Nate J Engel" userId="ceb1fc4a-eb95-4a90-b3f7-3b6e871c5963" providerId="ADAL" clId="{D900D039-E41E-4A86-B10C-9A20AEADBFF1}" dt="2021-01-28T16:22:42.181" v="300" actId="164"/>
          <ac:picMkLst>
            <pc:docMk/>
            <pc:sldMk cId="540838727" sldId="2076137387"/>
            <ac:picMk id="13" creationId="{CBB0D70F-FC1F-44BE-878C-4B51F5433A63}"/>
          </ac:picMkLst>
        </pc:picChg>
      </pc:sldChg>
      <pc:sldChg chg="addSp delSp modSp delCm">
        <pc:chgData name="Nate J Engel" userId="ceb1fc4a-eb95-4a90-b3f7-3b6e871c5963" providerId="ADAL" clId="{D900D039-E41E-4A86-B10C-9A20AEADBFF1}" dt="2021-02-01T16:53:17.730" v="3533" actId="1592"/>
        <pc:sldMkLst>
          <pc:docMk/>
          <pc:sldMk cId="1067674525" sldId="2076137394"/>
        </pc:sldMkLst>
        <pc:spChg chg="add del">
          <ac:chgData name="Nate J Engel" userId="ceb1fc4a-eb95-4a90-b3f7-3b6e871c5963" providerId="ADAL" clId="{D900D039-E41E-4A86-B10C-9A20AEADBFF1}" dt="2021-01-28T16:49:22.144" v="675"/>
          <ac:spMkLst>
            <pc:docMk/>
            <pc:sldMk cId="1067674525" sldId="2076137394"/>
            <ac:spMk id="10" creationId="{91D6C373-041A-4B31-BAD5-C9280941407F}"/>
          </ac:spMkLst>
        </pc:spChg>
        <pc:spChg chg="mod">
          <ac:chgData name="Nate J Engel" userId="ceb1fc4a-eb95-4a90-b3f7-3b6e871c5963" providerId="ADAL" clId="{D900D039-E41E-4A86-B10C-9A20AEADBFF1}" dt="2021-02-01T16:53:13.120" v="3532" actId="20577"/>
          <ac:spMkLst>
            <pc:docMk/>
            <pc:sldMk cId="1067674525" sldId="2076137394"/>
            <ac:spMk id="21" creationId="{97484700-38C9-49CC-AFE3-401E5C2E2E73}"/>
          </ac:spMkLst>
        </pc:spChg>
        <pc:grpChg chg="mod">
          <ac:chgData name="Nate J Engel" userId="ceb1fc4a-eb95-4a90-b3f7-3b6e871c5963" providerId="ADAL" clId="{D900D039-E41E-4A86-B10C-9A20AEADBFF1}" dt="2021-02-01T16:52:56.686" v="3519" actId="1076"/>
          <ac:grpSpMkLst>
            <pc:docMk/>
            <pc:sldMk cId="1067674525" sldId="2076137394"/>
            <ac:grpSpMk id="2" creationId="{8424D2A0-730E-4B64-81A7-58B00A562939}"/>
          </ac:grpSpMkLst>
        </pc:grpChg>
      </pc:sldChg>
      <pc:sldChg chg="addSp delSp modSp add del">
        <pc:chgData name="Nate J Engel" userId="ceb1fc4a-eb95-4a90-b3f7-3b6e871c5963" providerId="ADAL" clId="{D900D039-E41E-4A86-B10C-9A20AEADBFF1}" dt="2021-01-28T19:11:44.382" v="754" actId="164"/>
        <pc:sldMkLst>
          <pc:docMk/>
          <pc:sldMk cId="781407554" sldId="2076137396"/>
        </pc:sldMkLst>
        <pc:spChg chg="mod">
          <ac:chgData name="Nate J Engel" userId="ceb1fc4a-eb95-4a90-b3f7-3b6e871c5963" providerId="ADAL" clId="{D900D039-E41E-4A86-B10C-9A20AEADBFF1}" dt="2021-01-28T16:31:25.742" v="610" actId="14100"/>
          <ac:spMkLst>
            <pc:docMk/>
            <pc:sldMk cId="781407554" sldId="2076137396"/>
            <ac:spMk id="2" creationId="{DBB453A1-70FF-4446-AA8B-6C396681D3BA}"/>
          </ac:spMkLst>
        </pc:spChg>
        <pc:spChg chg="mod">
          <ac:chgData name="Nate J Engel" userId="ceb1fc4a-eb95-4a90-b3f7-3b6e871c5963" providerId="ADAL" clId="{D900D039-E41E-4A86-B10C-9A20AEADBFF1}" dt="2021-01-28T19:11:22.421" v="743" actId="164"/>
          <ac:spMkLst>
            <pc:docMk/>
            <pc:sldMk cId="781407554" sldId="2076137396"/>
            <ac:spMk id="3" creationId="{B5B486A6-990C-4AE6-B9D6-6C7ACECE66F4}"/>
          </ac:spMkLst>
        </pc:spChg>
        <pc:spChg chg="add del mod">
          <ac:chgData name="Nate J Engel" userId="ceb1fc4a-eb95-4a90-b3f7-3b6e871c5963" providerId="ADAL" clId="{D900D039-E41E-4A86-B10C-9A20AEADBFF1}" dt="2021-01-28T19:11:11.114" v="740" actId="478"/>
          <ac:spMkLst>
            <pc:docMk/>
            <pc:sldMk cId="781407554" sldId="2076137396"/>
            <ac:spMk id="10" creationId="{5754A8D7-D558-4E86-9EF4-06CB07F25875}"/>
          </ac:spMkLst>
        </pc:spChg>
        <pc:spChg chg="mod">
          <ac:chgData name="Nate J Engel" userId="ceb1fc4a-eb95-4a90-b3f7-3b6e871c5963" providerId="ADAL" clId="{D900D039-E41E-4A86-B10C-9A20AEADBFF1}" dt="2021-01-28T19:11:44.382" v="754" actId="164"/>
          <ac:spMkLst>
            <pc:docMk/>
            <pc:sldMk cId="781407554" sldId="2076137396"/>
            <ac:spMk id="15" creationId="{53C67D9E-51A2-487D-8301-9A6D3B54BE50}"/>
          </ac:spMkLst>
        </pc:spChg>
        <pc:spChg chg="mod">
          <ac:chgData name="Nate J Engel" userId="ceb1fc4a-eb95-4a90-b3f7-3b6e871c5963" providerId="ADAL" clId="{D900D039-E41E-4A86-B10C-9A20AEADBFF1}" dt="2021-01-28T16:32:17.173" v="666" actId="20577"/>
          <ac:spMkLst>
            <pc:docMk/>
            <pc:sldMk cId="781407554" sldId="2076137396"/>
            <ac:spMk id="21" creationId="{97484700-38C9-49CC-AFE3-401E5C2E2E73}"/>
          </ac:spMkLst>
        </pc:spChg>
        <pc:grpChg chg="add mod">
          <ac:chgData name="Nate J Engel" userId="ceb1fc4a-eb95-4a90-b3f7-3b6e871c5963" providerId="ADAL" clId="{D900D039-E41E-4A86-B10C-9A20AEADBFF1}" dt="2021-01-28T19:11:44.382" v="754" actId="164"/>
          <ac:grpSpMkLst>
            <pc:docMk/>
            <pc:sldMk cId="781407554" sldId="2076137396"/>
            <ac:grpSpMk id="4" creationId="{7B44D3CE-D5DC-4E47-8966-33C8AE318EEE}"/>
          </ac:grpSpMkLst>
        </pc:grpChg>
        <pc:grpChg chg="add mod">
          <ac:chgData name="Nate J Engel" userId="ceb1fc4a-eb95-4a90-b3f7-3b6e871c5963" providerId="ADAL" clId="{D900D039-E41E-4A86-B10C-9A20AEADBFF1}" dt="2021-01-28T19:11:44.382" v="754" actId="164"/>
          <ac:grpSpMkLst>
            <pc:docMk/>
            <pc:sldMk cId="781407554" sldId="2076137396"/>
            <ac:grpSpMk id="5" creationId="{8DA45CEB-6746-4C84-B2B7-BA6B78431B59}"/>
          </ac:grpSpMkLst>
        </pc:grpChg>
        <pc:picChg chg="mod">
          <ac:chgData name="Nate J Engel" userId="ceb1fc4a-eb95-4a90-b3f7-3b6e871c5963" providerId="ADAL" clId="{D900D039-E41E-4A86-B10C-9A20AEADBFF1}" dt="2021-01-28T19:11:22.421" v="743" actId="164"/>
          <ac:picMkLst>
            <pc:docMk/>
            <pc:sldMk cId="781407554" sldId="2076137396"/>
            <ac:picMk id="13" creationId="{2FA7B60E-E54A-4A72-840E-A25414737732}"/>
          </ac:picMkLst>
        </pc:picChg>
      </pc:sldChg>
      <pc:sldChg chg="addSp delSp modSp delCm modCm">
        <pc:chgData name="Nate J Engel" userId="ceb1fc4a-eb95-4a90-b3f7-3b6e871c5963" providerId="ADAL" clId="{D900D039-E41E-4A86-B10C-9A20AEADBFF1}" dt="2021-02-01T16:31:12.177" v="2930" actId="1592"/>
        <pc:sldMkLst>
          <pc:docMk/>
          <pc:sldMk cId="3773699427" sldId="2076137397"/>
        </pc:sldMkLst>
        <pc:spChg chg="add del mod">
          <ac:chgData name="Nate J Engel" userId="ceb1fc4a-eb95-4a90-b3f7-3b6e871c5963" providerId="ADAL" clId="{D900D039-E41E-4A86-B10C-9A20AEADBFF1}" dt="2021-01-28T20:58:44.640" v="814" actId="478"/>
          <ac:spMkLst>
            <pc:docMk/>
            <pc:sldMk cId="3773699427" sldId="2076137397"/>
            <ac:spMk id="3" creationId="{820ABD28-5B09-476E-9F33-49415C3C17DB}"/>
          </ac:spMkLst>
        </pc:spChg>
        <pc:spChg chg="add del mod">
          <ac:chgData name="Nate J Engel" userId="ceb1fc4a-eb95-4a90-b3f7-3b6e871c5963" providerId="ADAL" clId="{D900D039-E41E-4A86-B10C-9A20AEADBFF1}" dt="2021-01-28T20:58:53.362" v="816" actId="478"/>
          <ac:spMkLst>
            <pc:docMk/>
            <pc:sldMk cId="3773699427" sldId="2076137397"/>
            <ac:spMk id="4" creationId="{D16F1CCD-7659-4CD7-8749-791B72B61933}"/>
          </ac:spMkLst>
        </pc:spChg>
        <pc:spChg chg="add mod">
          <ac:chgData name="Nate J Engel" userId="ceb1fc4a-eb95-4a90-b3f7-3b6e871c5963" providerId="ADAL" clId="{D900D039-E41E-4A86-B10C-9A20AEADBFF1}" dt="2021-01-28T20:59:20.599" v="820" actId="208"/>
          <ac:spMkLst>
            <pc:docMk/>
            <pc:sldMk cId="3773699427" sldId="2076137397"/>
            <ac:spMk id="6" creationId="{2D03F89E-1217-4356-9D14-50696E5191F6}"/>
          </ac:spMkLst>
        </pc:spChg>
        <pc:spChg chg="mod">
          <ac:chgData name="Nate J Engel" userId="ceb1fc4a-eb95-4a90-b3f7-3b6e871c5963" providerId="ADAL" clId="{D900D039-E41E-4A86-B10C-9A20AEADBFF1}" dt="2021-01-28T20:56:11.510" v="800" actId="164"/>
          <ac:spMkLst>
            <pc:docMk/>
            <pc:sldMk cId="3773699427" sldId="2076137397"/>
            <ac:spMk id="9" creationId="{1E1D05F2-3A92-41A2-9372-4C03111F3C28}"/>
          </ac:spMkLst>
        </pc:spChg>
        <pc:spChg chg="add del">
          <ac:chgData name="Nate J Engel" userId="ceb1fc4a-eb95-4a90-b3f7-3b6e871c5963" providerId="ADAL" clId="{D900D039-E41E-4A86-B10C-9A20AEADBFF1}" dt="2021-01-28T21:00:11.948" v="822" actId="478"/>
          <ac:spMkLst>
            <pc:docMk/>
            <pc:sldMk cId="3773699427" sldId="2076137397"/>
            <ac:spMk id="10" creationId="{A478EEAE-765D-4384-BA11-CA61251E937E}"/>
          </ac:spMkLst>
        </pc:spChg>
        <pc:spChg chg="add mod">
          <ac:chgData name="Nate J Engel" userId="ceb1fc4a-eb95-4a90-b3f7-3b6e871c5963" providerId="ADAL" clId="{D900D039-E41E-4A86-B10C-9A20AEADBFF1}" dt="2021-01-28T21:02:41.144" v="1263" actId="20577"/>
          <ac:spMkLst>
            <pc:docMk/>
            <pc:sldMk cId="3773699427" sldId="2076137397"/>
            <ac:spMk id="15" creationId="{F9C9E9EA-8C91-4B96-AC9F-F43BFCB83BCF}"/>
          </ac:spMkLst>
        </pc:spChg>
        <pc:spChg chg="del mod">
          <ac:chgData name="Nate J Engel" userId="ceb1fc4a-eb95-4a90-b3f7-3b6e871c5963" providerId="ADAL" clId="{D900D039-E41E-4A86-B10C-9A20AEADBFF1}" dt="2021-01-28T20:56:36.988" v="803"/>
          <ac:spMkLst>
            <pc:docMk/>
            <pc:sldMk cId="3773699427" sldId="2076137397"/>
            <ac:spMk id="16" creationId="{F82660D4-174E-494B-8138-62CC2BD92056}"/>
          </ac:spMkLst>
        </pc:spChg>
        <pc:spChg chg="mod">
          <ac:chgData name="Nate J Engel" userId="ceb1fc4a-eb95-4a90-b3f7-3b6e871c5963" providerId="ADAL" clId="{D900D039-E41E-4A86-B10C-9A20AEADBFF1}" dt="2021-01-28T20:58:18.373" v="812" actId="20577"/>
          <ac:spMkLst>
            <pc:docMk/>
            <pc:sldMk cId="3773699427" sldId="2076137397"/>
            <ac:spMk id="21" creationId="{97484700-38C9-49CC-AFE3-401E5C2E2E73}"/>
          </ac:spMkLst>
        </pc:spChg>
        <pc:grpChg chg="add mod">
          <ac:chgData name="Nate J Engel" userId="ceb1fc4a-eb95-4a90-b3f7-3b6e871c5963" providerId="ADAL" clId="{D900D039-E41E-4A86-B10C-9A20AEADBFF1}" dt="2021-01-28T20:58:08.182" v="810" actId="1076"/>
          <ac:grpSpMkLst>
            <pc:docMk/>
            <pc:sldMk cId="3773699427" sldId="2076137397"/>
            <ac:grpSpMk id="2" creationId="{880B5967-A79A-4D49-8B9B-D2AC3BBB4366}"/>
          </ac:grpSpMkLst>
        </pc:grpChg>
        <pc:picChg chg="mod">
          <ac:chgData name="Nate J Engel" userId="ceb1fc4a-eb95-4a90-b3f7-3b6e871c5963" providerId="ADAL" clId="{D900D039-E41E-4A86-B10C-9A20AEADBFF1}" dt="2021-01-28T20:56:11.510" v="800" actId="164"/>
          <ac:picMkLst>
            <pc:docMk/>
            <pc:sldMk cId="3773699427" sldId="2076137397"/>
            <ac:picMk id="5" creationId="{E66544D9-C1F9-4C10-90DD-DE9E0668C7FA}"/>
          </ac:picMkLst>
        </pc:picChg>
      </pc:sldChg>
      <pc:sldChg chg="addSp modSp">
        <pc:chgData name="Nate J Engel" userId="ceb1fc4a-eb95-4a90-b3f7-3b6e871c5963" providerId="ADAL" clId="{D900D039-E41E-4A86-B10C-9A20AEADBFF1}" dt="2021-01-28T16:23:31.242" v="304" actId="164"/>
        <pc:sldMkLst>
          <pc:docMk/>
          <pc:sldMk cId="335893083" sldId="2076137400"/>
        </pc:sldMkLst>
        <pc:spChg chg="add mod">
          <ac:chgData name="Nate J Engel" userId="ceb1fc4a-eb95-4a90-b3f7-3b6e871c5963" providerId="ADAL" clId="{D900D039-E41E-4A86-B10C-9A20AEADBFF1}" dt="2021-01-28T16:23:31.242" v="304" actId="164"/>
          <ac:spMkLst>
            <pc:docMk/>
            <pc:sldMk cId="335893083" sldId="2076137400"/>
            <ac:spMk id="9" creationId="{91EE87C7-9133-454D-8D54-9DEFCCC14342}"/>
          </ac:spMkLst>
        </pc:spChg>
        <pc:grpChg chg="add mod">
          <ac:chgData name="Nate J Engel" userId="ceb1fc4a-eb95-4a90-b3f7-3b6e871c5963" providerId="ADAL" clId="{D900D039-E41E-4A86-B10C-9A20AEADBFF1}" dt="2021-01-28T16:23:31.242" v="304" actId="164"/>
          <ac:grpSpMkLst>
            <pc:docMk/>
            <pc:sldMk cId="335893083" sldId="2076137400"/>
            <ac:grpSpMk id="2" creationId="{1785FAF2-4758-47AA-901B-71945135F763}"/>
          </ac:grpSpMkLst>
        </pc:grpChg>
        <pc:picChg chg="mod">
          <ac:chgData name="Nate J Engel" userId="ceb1fc4a-eb95-4a90-b3f7-3b6e871c5963" providerId="ADAL" clId="{D900D039-E41E-4A86-B10C-9A20AEADBFF1}" dt="2021-01-28T16:23:31.242" v="304" actId="164"/>
          <ac:picMkLst>
            <pc:docMk/>
            <pc:sldMk cId="335893083" sldId="2076137400"/>
            <ac:picMk id="41986" creationId="{5EBBB578-8DCD-47AC-BAA5-58990F9FA826}"/>
          </ac:picMkLst>
        </pc:picChg>
      </pc:sldChg>
      <pc:sldChg chg="addSp modSp delCm">
        <pc:chgData name="Nate J Engel" userId="ceb1fc4a-eb95-4a90-b3f7-3b6e871c5963" providerId="ADAL" clId="{D900D039-E41E-4A86-B10C-9A20AEADBFF1}" dt="2021-02-01T17:03:24.859" v="4104" actId="20577"/>
        <pc:sldMkLst>
          <pc:docMk/>
          <pc:sldMk cId="249564304" sldId="2076137401"/>
        </pc:sldMkLst>
        <pc:spChg chg="mod">
          <ac:chgData name="Nate J Engel" userId="ceb1fc4a-eb95-4a90-b3f7-3b6e871c5963" providerId="ADAL" clId="{D900D039-E41E-4A86-B10C-9A20AEADBFF1}" dt="2021-02-01T17:02:31.491" v="4088" actId="1076"/>
          <ac:spMkLst>
            <pc:docMk/>
            <pc:sldMk cId="249564304" sldId="2076137401"/>
            <ac:spMk id="2" creationId="{3E51037A-0519-40F2-83AA-FA06E1FE8410}"/>
          </ac:spMkLst>
        </pc:spChg>
        <pc:spChg chg="mod">
          <ac:chgData name="Nate J Engel" userId="ceb1fc4a-eb95-4a90-b3f7-3b6e871c5963" providerId="ADAL" clId="{D900D039-E41E-4A86-B10C-9A20AEADBFF1}" dt="2021-01-28T21:08:12.249" v="1630" actId="1076"/>
          <ac:spMkLst>
            <pc:docMk/>
            <pc:sldMk cId="249564304" sldId="2076137401"/>
            <ac:spMk id="14" creationId="{C8790A2E-14EC-431A-8D3D-A0C0112FFD41}"/>
          </ac:spMkLst>
        </pc:spChg>
        <pc:spChg chg="mod">
          <ac:chgData name="Nate J Engel" userId="ceb1fc4a-eb95-4a90-b3f7-3b6e871c5963" providerId="ADAL" clId="{D900D039-E41E-4A86-B10C-9A20AEADBFF1}" dt="2021-01-28T21:09:06.059" v="1732" actId="20577"/>
          <ac:spMkLst>
            <pc:docMk/>
            <pc:sldMk cId="249564304" sldId="2076137401"/>
            <ac:spMk id="18" creationId="{5921E684-25A7-46D3-9CCC-3FDDFD15B4D9}"/>
          </ac:spMkLst>
        </pc:spChg>
        <pc:spChg chg="mod">
          <ac:chgData name="Nate J Engel" userId="ceb1fc4a-eb95-4a90-b3f7-3b6e871c5963" providerId="ADAL" clId="{D900D039-E41E-4A86-B10C-9A20AEADBFF1}" dt="2021-02-01T17:03:24.859" v="4104" actId="20577"/>
          <ac:spMkLst>
            <pc:docMk/>
            <pc:sldMk cId="249564304" sldId="2076137401"/>
            <ac:spMk id="19" creationId="{B9C2EB75-D002-4BF5-A791-F12A2C032CEF}"/>
          </ac:spMkLst>
        </pc:spChg>
        <pc:grpChg chg="mod">
          <ac:chgData name="Nate J Engel" userId="ceb1fc4a-eb95-4a90-b3f7-3b6e871c5963" providerId="ADAL" clId="{D900D039-E41E-4A86-B10C-9A20AEADBFF1}" dt="2021-02-01T17:02:22.282" v="4085" actId="1076"/>
          <ac:grpSpMkLst>
            <pc:docMk/>
            <pc:sldMk cId="249564304" sldId="2076137401"/>
            <ac:grpSpMk id="4" creationId="{A45CD6B8-ABAF-448E-B739-C9EFDDED2FAC}"/>
          </ac:grpSpMkLst>
        </pc:grpChg>
        <pc:picChg chg="add mod">
          <ac:chgData name="Nate J Engel" userId="ceb1fc4a-eb95-4a90-b3f7-3b6e871c5963" providerId="ADAL" clId="{D900D039-E41E-4A86-B10C-9A20AEADBFF1}" dt="2021-01-28T21:13:25.809" v="1973" actId="1076"/>
          <ac:picMkLst>
            <pc:docMk/>
            <pc:sldMk cId="249564304" sldId="2076137401"/>
            <ac:picMk id="15" creationId="{70606AF6-0B3A-4C87-9535-8E2FA08EFBAE}"/>
          </ac:picMkLst>
        </pc:picChg>
        <pc:picChg chg="mod">
          <ac:chgData name="Nate J Engel" userId="ceb1fc4a-eb95-4a90-b3f7-3b6e871c5963" providerId="ADAL" clId="{D900D039-E41E-4A86-B10C-9A20AEADBFF1}" dt="2021-02-01T17:02:40.005" v="4091" actId="14100"/>
          <ac:picMkLst>
            <pc:docMk/>
            <pc:sldMk cId="249564304" sldId="2076137401"/>
            <ac:picMk id="20" creationId="{E4D21730-0051-4F3C-819C-8B6D49FE3493}"/>
          </ac:picMkLst>
        </pc:picChg>
      </pc:sldChg>
      <pc:sldChg chg="modSp delCm">
        <pc:chgData name="Nate J Engel" userId="ceb1fc4a-eb95-4a90-b3f7-3b6e871c5963" providerId="ADAL" clId="{D900D039-E41E-4A86-B10C-9A20AEADBFF1}" dt="2021-02-01T17:03:45.423" v="4111" actId="1076"/>
        <pc:sldMkLst>
          <pc:docMk/>
          <pc:sldMk cId="2731429917" sldId="2076137402"/>
        </pc:sldMkLst>
        <pc:spChg chg="mod">
          <ac:chgData name="Nate J Engel" userId="ceb1fc4a-eb95-4a90-b3f7-3b6e871c5963" providerId="ADAL" clId="{D900D039-E41E-4A86-B10C-9A20AEADBFF1}" dt="2021-01-28T19:09:31.309" v="734" actId="20577"/>
          <ac:spMkLst>
            <pc:docMk/>
            <pc:sldMk cId="2731429917" sldId="2076137402"/>
            <ac:spMk id="18" creationId="{5921E684-25A7-46D3-9CCC-3FDDFD15B4D9}"/>
          </ac:spMkLst>
        </pc:spChg>
        <pc:spChg chg="mod">
          <ac:chgData name="Nate J Engel" userId="ceb1fc4a-eb95-4a90-b3f7-3b6e871c5963" providerId="ADAL" clId="{D900D039-E41E-4A86-B10C-9A20AEADBFF1}" dt="2021-02-01T17:03:45.423" v="4111" actId="1076"/>
          <ac:spMkLst>
            <pc:docMk/>
            <pc:sldMk cId="2731429917" sldId="2076137402"/>
            <ac:spMk id="19" creationId="{B9C2EB75-D002-4BF5-A791-F12A2C032CEF}"/>
          </ac:spMkLst>
        </pc:spChg>
      </pc:sldChg>
      <pc:sldChg chg="addCm modCm">
        <pc:chgData name="Nate J Engel" userId="ceb1fc4a-eb95-4a90-b3f7-3b6e871c5963" providerId="ADAL" clId="{D900D039-E41E-4A86-B10C-9A20AEADBFF1}" dt="2021-01-28T16:40:53.071" v="668"/>
        <pc:sldMkLst>
          <pc:docMk/>
          <pc:sldMk cId="4021766402" sldId="2076137403"/>
        </pc:sldMkLst>
      </pc:sldChg>
      <pc:sldChg chg="delSp modSp add">
        <pc:chgData name="Nate J Engel" userId="ceb1fc4a-eb95-4a90-b3f7-3b6e871c5963" providerId="ADAL" clId="{D900D039-E41E-4A86-B10C-9A20AEADBFF1}" dt="2021-01-28T19:07:18.488" v="719" actId="478"/>
        <pc:sldMkLst>
          <pc:docMk/>
          <pc:sldMk cId="1747900493" sldId="2076137404"/>
        </pc:sldMkLst>
        <pc:spChg chg="del">
          <ac:chgData name="Nate J Engel" userId="ceb1fc4a-eb95-4a90-b3f7-3b6e871c5963" providerId="ADAL" clId="{D900D039-E41E-4A86-B10C-9A20AEADBFF1}" dt="2021-01-28T19:07:18.488" v="719" actId="478"/>
          <ac:spMkLst>
            <pc:docMk/>
            <pc:sldMk cId="1747900493" sldId="2076137404"/>
            <ac:spMk id="5" creationId="{DCDD0A90-3E45-4A7E-AD19-64D73FEF1191}"/>
          </ac:spMkLst>
        </pc:spChg>
        <pc:spChg chg="mod">
          <ac:chgData name="Nate J Engel" userId="ceb1fc4a-eb95-4a90-b3f7-3b6e871c5963" providerId="ADAL" clId="{D900D039-E41E-4A86-B10C-9A20AEADBFF1}" dt="2021-01-28T19:07:16.513" v="718" actId="20577"/>
          <ac:spMkLst>
            <pc:docMk/>
            <pc:sldMk cId="1747900493" sldId="2076137404"/>
            <ac:spMk id="6" creationId="{DD44C1A4-CC9D-4A4B-B32B-18DEC47A3A50}"/>
          </ac:spMkLst>
        </pc:spChg>
        <pc:spChg chg="mod">
          <ac:chgData name="Nate J Engel" userId="ceb1fc4a-eb95-4a90-b3f7-3b6e871c5963" providerId="ADAL" clId="{D900D039-E41E-4A86-B10C-9A20AEADBFF1}" dt="2021-01-28T16:49:43.846" v="677" actId="207"/>
          <ac:spMkLst>
            <pc:docMk/>
            <pc:sldMk cId="1747900493" sldId="2076137404"/>
            <ac:spMk id="7" creationId="{BF3BD51B-0D39-487F-8C5B-7CDAB112BBAB}"/>
          </ac:spMkLst>
        </pc:spChg>
      </pc:sldChg>
      <pc:sldChg chg="delSp modSp">
        <pc:chgData name="Nate J Engel" userId="ceb1fc4a-eb95-4a90-b3f7-3b6e871c5963" providerId="ADAL" clId="{D900D039-E41E-4A86-B10C-9A20AEADBFF1}" dt="2021-01-28T19:07:28.975" v="729" actId="478"/>
        <pc:sldMkLst>
          <pc:docMk/>
          <pc:sldMk cId="2237677297" sldId="2076137405"/>
        </pc:sldMkLst>
        <pc:spChg chg="del">
          <ac:chgData name="Nate J Engel" userId="ceb1fc4a-eb95-4a90-b3f7-3b6e871c5963" providerId="ADAL" clId="{D900D039-E41E-4A86-B10C-9A20AEADBFF1}" dt="2021-01-28T19:07:28.975" v="729" actId="478"/>
          <ac:spMkLst>
            <pc:docMk/>
            <pc:sldMk cId="2237677297" sldId="2076137405"/>
            <ac:spMk id="5" creationId="{DCDD0A90-3E45-4A7E-AD19-64D73FEF1191}"/>
          </ac:spMkLst>
        </pc:spChg>
        <pc:spChg chg="mod">
          <ac:chgData name="Nate J Engel" userId="ceb1fc4a-eb95-4a90-b3f7-3b6e871c5963" providerId="ADAL" clId="{D900D039-E41E-4A86-B10C-9A20AEADBFF1}" dt="2021-01-28T19:07:26.317" v="728" actId="20577"/>
          <ac:spMkLst>
            <pc:docMk/>
            <pc:sldMk cId="2237677297" sldId="2076137405"/>
            <ac:spMk id="6" creationId="{DD44C1A4-CC9D-4A4B-B32B-18DEC47A3A50}"/>
          </ac:spMkLst>
        </pc:spChg>
      </pc:sldChg>
      <pc:sldChg chg="addSp delSp modSp">
        <pc:chgData name="Nate J Engel" userId="ceb1fc4a-eb95-4a90-b3f7-3b6e871c5963" providerId="ADAL" clId="{D900D039-E41E-4A86-B10C-9A20AEADBFF1}" dt="2021-02-01T17:04:04.580" v="4115" actId="1076"/>
        <pc:sldMkLst>
          <pc:docMk/>
          <pc:sldMk cId="1554193894" sldId="2076137407"/>
        </pc:sldMkLst>
        <pc:spChg chg="add del">
          <ac:chgData name="Nate J Engel" userId="ceb1fc4a-eb95-4a90-b3f7-3b6e871c5963" providerId="ADAL" clId="{D900D039-E41E-4A86-B10C-9A20AEADBFF1}" dt="2021-02-01T17:04:02.017" v="4114"/>
          <ac:spMkLst>
            <pc:docMk/>
            <pc:sldMk cId="1554193894" sldId="2076137407"/>
            <ac:spMk id="3" creationId="{763797C5-544D-44A0-A2EE-031D2EFA5489}"/>
          </ac:spMkLst>
        </pc:spChg>
        <pc:picChg chg="mod">
          <ac:chgData name="Nate J Engel" userId="ceb1fc4a-eb95-4a90-b3f7-3b6e871c5963" providerId="ADAL" clId="{D900D039-E41E-4A86-B10C-9A20AEADBFF1}" dt="2021-02-01T17:04:04.580" v="4115" actId="1076"/>
          <ac:picMkLst>
            <pc:docMk/>
            <pc:sldMk cId="1554193894" sldId="2076137407"/>
            <ac:picMk id="13" creationId="{2FA7B60E-E54A-4A72-840E-A25414737732}"/>
          </ac:picMkLst>
        </pc:picChg>
      </pc:sldChg>
      <pc:sldChg chg="addSp modSp addCm delCm">
        <pc:chgData name="Nate J Engel" userId="ceb1fc4a-eb95-4a90-b3f7-3b6e871c5963" providerId="ADAL" clId="{D900D039-E41E-4A86-B10C-9A20AEADBFF1}" dt="2021-02-01T17:02:56.713" v="4092" actId="1592"/>
        <pc:sldMkLst>
          <pc:docMk/>
          <pc:sldMk cId="1610434797" sldId="2076137408"/>
        </pc:sldMkLst>
        <pc:spChg chg="mod">
          <ac:chgData name="Nate J Engel" userId="ceb1fc4a-eb95-4a90-b3f7-3b6e871c5963" providerId="ADAL" clId="{D900D039-E41E-4A86-B10C-9A20AEADBFF1}" dt="2021-01-28T19:06:48.895" v="691" actId="1076"/>
          <ac:spMkLst>
            <pc:docMk/>
            <pc:sldMk cId="1610434797" sldId="2076137408"/>
            <ac:spMk id="3" creationId="{B5B486A6-990C-4AE6-B9D6-6C7ACECE66F4}"/>
          </ac:spMkLst>
        </pc:spChg>
        <pc:spChg chg="mod">
          <ac:chgData name="Nate J Engel" userId="ceb1fc4a-eb95-4a90-b3f7-3b6e871c5963" providerId="ADAL" clId="{D900D039-E41E-4A86-B10C-9A20AEADBFF1}" dt="2021-02-01T16:59:36.903" v="3876" actId="1076"/>
          <ac:spMkLst>
            <pc:docMk/>
            <pc:sldMk cId="1610434797" sldId="2076137408"/>
            <ac:spMk id="4" creationId="{15F9C3BD-016D-4D09-ABF1-AAFBC9D136B5}"/>
          </ac:spMkLst>
        </pc:spChg>
        <pc:spChg chg="mod">
          <ac:chgData name="Nate J Engel" userId="ceb1fc4a-eb95-4a90-b3f7-3b6e871c5963" providerId="ADAL" clId="{D900D039-E41E-4A86-B10C-9A20AEADBFF1}" dt="2021-01-28T19:06:24.386" v="681" actId="20577"/>
          <ac:spMkLst>
            <pc:docMk/>
            <pc:sldMk cId="1610434797" sldId="2076137408"/>
            <ac:spMk id="5" creationId="{26E0D95D-3DB6-4A31-A309-C8DDA1B89AFB}"/>
          </ac:spMkLst>
        </pc:spChg>
        <pc:spChg chg="mod">
          <ac:chgData name="Nate J Engel" userId="ceb1fc4a-eb95-4a90-b3f7-3b6e871c5963" providerId="ADAL" clId="{D900D039-E41E-4A86-B10C-9A20AEADBFF1}" dt="2021-01-28T19:06:31.312" v="685" actId="14100"/>
          <ac:spMkLst>
            <pc:docMk/>
            <pc:sldMk cId="1610434797" sldId="2076137408"/>
            <ac:spMk id="6" creationId="{BBC6B144-D3B5-4229-9EBF-D670E273DD09}"/>
          </ac:spMkLst>
        </pc:spChg>
        <pc:spChg chg="mod">
          <ac:chgData name="Nate J Engel" userId="ceb1fc4a-eb95-4a90-b3f7-3b6e871c5963" providerId="ADAL" clId="{D900D039-E41E-4A86-B10C-9A20AEADBFF1}" dt="2021-01-28T21:11:14.262" v="1918" actId="1036"/>
          <ac:spMkLst>
            <pc:docMk/>
            <pc:sldMk cId="1610434797" sldId="2076137408"/>
            <ac:spMk id="14" creationId="{C8790A2E-14EC-431A-8D3D-A0C0112FFD41}"/>
          </ac:spMkLst>
        </pc:spChg>
        <pc:spChg chg="mod">
          <ac:chgData name="Nate J Engel" userId="ceb1fc4a-eb95-4a90-b3f7-3b6e871c5963" providerId="ADAL" clId="{D900D039-E41E-4A86-B10C-9A20AEADBFF1}" dt="2021-01-28T19:09:11.666" v="732" actId="164"/>
          <ac:spMkLst>
            <pc:docMk/>
            <pc:sldMk cId="1610434797" sldId="2076137408"/>
            <ac:spMk id="15" creationId="{53C67D9E-51A2-487D-8301-9A6D3B54BE50}"/>
          </ac:spMkLst>
        </pc:spChg>
        <pc:spChg chg="mod">
          <ac:chgData name="Nate J Engel" userId="ceb1fc4a-eb95-4a90-b3f7-3b6e871c5963" providerId="ADAL" clId="{D900D039-E41E-4A86-B10C-9A20AEADBFF1}" dt="2021-02-01T16:59:29.063" v="3873" actId="1076"/>
          <ac:spMkLst>
            <pc:docMk/>
            <pc:sldMk cId="1610434797" sldId="2076137408"/>
            <ac:spMk id="16" creationId="{11880F02-5366-4083-9EEE-BBECCC089AB9}"/>
          </ac:spMkLst>
        </pc:spChg>
        <pc:spChg chg="add mod">
          <ac:chgData name="Nate J Engel" userId="ceb1fc4a-eb95-4a90-b3f7-3b6e871c5963" providerId="ADAL" clId="{D900D039-E41E-4A86-B10C-9A20AEADBFF1}" dt="2021-01-28T21:13:00.649" v="1967" actId="113"/>
          <ac:spMkLst>
            <pc:docMk/>
            <pc:sldMk cId="1610434797" sldId="2076137408"/>
            <ac:spMk id="19" creationId="{116FBF94-AC24-4DDE-840D-4D4DB8989BD4}"/>
          </ac:spMkLst>
        </pc:spChg>
        <pc:grpChg chg="add mod">
          <ac:chgData name="Nate J Engel" userId="ceb1fc4a-eb95-4a90-b3f7-3b6e871c5963" providerId="ADAL" clId="{D900D039-E41E-4A86-B10C-9A20AEADBFF1}" dt="2021-01-28T19:09:11.666" v="732" actId="164"/>
          <ac:grpSpMkLst>
            <pc:docMk/>
            <pc:sldMk cId="1610434797" sldId="2076137408"/>
            <ac:grpSpMk id="17" creationId="{9415BD70-98DA-41BB-B1A9-1A03D0102CC5}"/>
          </ac:grpSpMkLst>
        </pc:grpChg>
        <pc:picChg chg="mod">
          <ac:chgData name="Nate J Engel" userId="ceb1fc4a-eb95-4a90-b3f7-3b6e871c5963" providerId="ADAL" clId="{D900D039-E41E-4A86-B10C-9A20AEADBFF1}" dt="2021-01-28T19:09:11.666" v="732" actId="164"/>
          <ac:picMkLst>
            <pc:docMk/>
            <pc:sldMk cId="1610434797" sldId="2076137408"/>
            <ac:picMk id="13" creationId="{2FA7B60E-E54A-4A72-840E-A25414737732}"/>
          </ac:picMkLst>
        </pc:picChg>
        <pc:picChg chg="add mod">
          <ac:chgData name="Nate J Engel" userId="ceb1fc4a-eb95-4a90-b3f7-3b6e871c5963" providerId="ADAL" clId="{D900D039-E41E-4A86-B10C-9A20AEADBFF1}" dt="2021-01-28T21:13:19.517" v="1971" actId="1076"/>
          <ac:picMkLst>
            <pc:docMk/>
            <pc:sldMk cId="1610434797" sldId="2076137408"/>
            <ac:picMk id="20" creationId="{7AE96AEF-F2C4-4A68-9CDE-3BE8F61FB072}"/>
          </ac:picMkLst>
        </pc:picChg>
      </pc:sldChg>
      <pc:sldChg chg="addSp modSp delCm">
        <pc:chgData name="Nate J Engel" userId="ceb1fc4a-eb95-4a90-b3f7-3b6e871c5963" providerId="ADAL" clId="{D900D039-E41E-4A86-B10C-9A20AEADBFF1}" dt="2021-02-01T17:05:15.442" v="4135" actId="1592"/>
        <pc:sldMkLst>
          <pc:docMk/>
          <pc:sldMk cId="1809696343" sldId="2076137409"/>
        </pc:sldMkLst>
        <pc:spChg chg="mod">
          <ac:chgData name="Nate J Engel" userId="ceb1fc4a-eb95-4a90-b3f7-3b6e871c5963" providerId="ADAL" clId="{D900D039-E41E-4A86-B10C-9A20AEADBFF1}" dt="2021-02-01T17:04:57.035" v="4131" actId="164"/>
          <ac:spMkLst>
            <pc:docMk/>
            <pc:sldMk cId="1809696343" sldId="2076137409"/>
            <ac:spMk id="4" creationId="{15F9C3BD-016D-4D09-ABF1-AAFBC9D136B5}"/>
          </ac:spMkLst>
        </pc:spChg>
        <pc:spChg chg="add mod">
          <ac:chgData name="Nate J Engel" userId="ceb1fc4a-eb95-4a90-b3f7-3b6e871c5963" providerId="ADAL" clId="{D900D039-E41E-4A86-B10C-9A20AEADBFF1}" dt="2021-02-01T17:05:08.094" v="4134" actId="1076"/>
          <ac:spMkLst>
            <pc:docMk/>
            <pc:sldMk cId="1809696343" sldId="2076137409"/>
            <ac:spMk id="10" creationId="{C2ABBAC8-5C5B-431A-B1B2-8A5FB5C302C0}"/>
          </ac:spMkLst>
        </pc:spChg>
        <pc:spChg chg="mod">
          <ac:chgData name="Nate J Engel" userId="ceb1fc4a-eb95-4a90-b3f7-3b6e871c5963" providerId="ADAL" clId="{D900D039-E41E-4A86-B10C-9A20AEADBFF1}" dt="2021-02-01T17:04:57.035" v="4131" actId="164"/>
          <ac:spMkLst>
            <pc:docMk/>
            <pc:sldMk cId="1809696343" sldId="2076137409"/>
            <ac:spMk id="16" creationId="{11880F02-5366-4083-9EEE-BBECCC089AB9}"/>
          </ac:spMkLst>
        </pc:spChg>
        <pc:grpChg chg="add mod">
          <ac:chgData name="Nate J Engel" userId="ceb1fc4a-eb95-4a90-b3f7-3b6e871c5963" providerId="ADAL" clId="{D900D039-E41E-4A86-B10C-9A20AEADBFF1}" dt="2021-02-01T17:05:05.472" v="4133" actId="14100"/>
          <ac:grpSpMkLst>
            <pc:docMk/>
            <pc:sldMk cId="1809696343" sldId="2076137409"/>
            <ac:grpSpMk id="18" creationId="{348DFF19-8C4B-4452-9622-CDD9E12F9C26}"/>
          </ac:grpSpMkLst>
        </pc:grpChg>
      </pc:sldChg>
    </pc:docChg>
  </pc:docChgLst>
  <pc:docChgLst>
    <pc:chgData name="Gracie A Chewning" userId="9de9d667-e019-4a85-82bf-b9f50f141a0d" providerId="ADAL" clId="{3D71291A-9C0C-496C-9CB9-DA43C4AD41A6}"/>
    <pc:docChg chg="undo custSel addSld delSld modSld">
      <pc:chgData name="Gracie A Chewning" userId="9de9d667-e019-4a85-82bf-b9f50f141a0d" providerId="ADAL" clId="{3D71291A-9C0C-496C-9CB9-DA43C4AD41A6}" dt="2021-01-28T00:30:02.181" v="1602"/>
      <pc:docMkLst>
        <pc:docMk/>
      </pc:docMkLst>
      <pc:sldChg chg="addSp delSp modSp add">
        <pc:chgData name="Gracie A Chewning" userId="9de9d667-e019-4a85-82bf-b9f50f141a0d" providerId="ADAL" clId="{3D71291A-9C0C-496C-9CB9-DA43C4AD41A6}" dt="2021-01-27T23:41:09.044" v="1564" actId="20577"/>
        <pc:sldMkLst>
          <pc:docMk/>
          <pc:sldMk cId="946266505" sldId="9045"/>
        </pc:sldMkLst>
        <pc:spChg chg="del">
          <ac:chgData name="Gracie A Chewning" userId="9de9d667-e019-4a85-82bf-b9f50f141a0d" providerId="ADAL" clId="{3D71291A-9C0C-496C-9CB9-DA43C4AD41A6}" dt="2021-01-27T22:52:29.196" v="219" actId="478"/>
          <ac:spMkLst>
            <pc:docMk/>
            <pc:sldMk cId="946266505" sldId="9045"/>
            <ac:spMk id="5" creationId="{BADEDF88-32FC-4856-AE87-DB351D2708C1}"/>
          </ac:spMkLst>
        </pc:spChg>
        <pc:spChg chg="del">
          <ac:chgData name="Gracie A Chewning" userId="9de9d667-e019-4a85-82bf-b9f50f141a0d" providerId="ADAL" clId="{3D71291A-9C0C-496C-9CB9-DA43C4AD41A6}" dt="2021-01-27T22:52:29.196" v="219" actId="478"/>
          <ac:spMkLst>
            <pc:docMk/>
            <pc:sldMk cId="946266505" sldId="9045"/>
            <ac:spMk id="6" creationId="{DD44C1A4-CC9D-4A4B-B32B-18DEC47A3A50}"/>
          </ac:spMkLst>
        </pc:spChg>
        <pc:spChg chg="add mod">
          <ac:chgData name="Gracie A Chewning" userId="9de9d667-e019-4a85-82bf-b9f50f141a0d" providerId="ADAL" clId="{3D71291A-9C0C-496C-9CB9-DA43C4AD41A6}" dt="2021-01-27T23:41:09.044" v="1564" actId="20577"/>
          <ac:spMkLst>
            <pc:docMk/>
            <pc:sldMk cId="946266505" sldId="9045"/>
            <ac:spMk id="7" creationId="{789C9C7E-D7E1-4405-A202-15191D01D808}"/>
          </ac:spMkLst>
        </pc:spChg>
        <pc:spChg chg="add mod">
          <ac:chgData name="Gracie A Chewning" userId="9de9d667-e019-4a85-82bf-b9f50f141a0d" providerId="ADAL" clId="{3D71291A-9C0C-496C-9CB9-DA43C4AD41A6}" dt="2021-01-27T22:52:35.586" v="228" actId="20577"/>
          <ac:spMkLst>
            <pc:docMk/>
            <pc:sldMk cId="946266505" sldId="9045"/>
            <ac:spMk id="8" creationId="{58533F3E-DFD1-42E2-B448-4096089212B3}"/>
          </ac:spMkLst>
        </pc:spChg>
      </pc:sldChg>
      <pc:sldChg chg="delSp add">
        <pc:chgData name="Gracie A Chewning" userId="9de9d667-e019-4a85-82bf-b9f50f141a0d" providerId="ADAL" clId="{3D71291A-9C0C-496C-9CB9-DA43C4AD41A6}" dt="2021-01-27T22:38:51.426" v="33" actId="478"/>
        <pc:sldMkLst>
          <pc:docMk/>
          <pc:sldMk cId="3813086601" sldId="9056"/>
        </pc:sldMkLst>
        <pc:spChg chg="del">
          <ac:chgData name="Gracie A Chewning" userId="9de9d667-e019-4a85-82bf-b9f50f141a0d" providerId="ADAL" clId="{3D71291A-9C0C-496C-9CB9-DA43C4AD41A6}" dt="2021-01-27T22:38:51.426" v="33" actId="478"/>
          <ac:spMkLst>
            <pc:docMk/>
            <pc:sldMk cId="3813086601" sldId="9056"/>
            <ac:spMk id="5" creationId="{16081571-453F-4E5C-A140-E93FF02622E3}"/>
          </ac:spMkLst>
        </pc:spChg>
      </pc:sldChg>
      <pc:sldChg chg="modSp add">
        <pc:chgData name="Gracie A Chewning" userId="9de9d667-e019-4a85-82bf-b9f50f141a0d" providerId="ADAL" clId="{3D71291A-9C0C-496C-9CB9-DA43C4AD41A6}" dt="2021-01-27T23:40:39.009" v="1553" actId="20577"/>
        <pc:sldMkLst>
          <pc:docMk/>
          <pc:sldMk cId="3123279992" sldId="9070"/>
        </pc:sldMkLst>
        <pc:graphicFrameChg chg="modGraphic">
          <ac:chgData name="Gracie A Chewning" userId="9de9d667-e019-4a85-82bf-b9f50f141a0d" providerId="ADAL" clId="{3D71291A-9C0C-496C-9CB9-DA43C4AD41A6}" dt="2021-01-27T23:40:39.009" v="1553" actId="20577"/>
          <ac:graphicFrameMkLst>
            <pc:docMk/>
            <pc:sldMk cId="3123279992" sldId="9070"/>
            <ac:graphicFrameMk id="6" creationId="{78B1BD31-3AF9-4B81-93FC-7241460106EA}"/>
          </ac:graphicFrameMkLst>
        </pc:graphicFrameChg>
      </pc:sldChg>
      <pc:sldChg chg="addSp modSp add">
        <pc:chgData name="Gracie A Chewning" userId="9de9d667-e019-4a85-82bf-b9f50f141a0d" providerId="ADAL" clId="{3D71291A-9C0C-496C-9CB9-DA43C4AD41A6}" dt="2021-01-27T23:41:25.948" v="1575" actId="20577"/>
        <pc:sldMkLst>
          <pc:docMk/>
          <pc:sldMk cId="450641459" sldId="9071"/>
        </pc:sldMkLst>
        <pc:spChg chg="add mod">
          <ac:chgData name="Gracie A Chewning" userId="9de9d667-e019-4a85-82bf-b9f50f141a0d" providerId="ADAL" clId="{3D71291A-9C0C-496C-9CB9-DA43C4AD41A6}" dt="2021-01-27T22:52:12.777" v="218" actId="1076"/>
          <ac:spMkLst>
            <pc:docMk/>
            <pc:sldMk cId="450641459" sldId="9071"/>
            <ac:spMk id="5" creationId="{DCDD0A90-3E45-4A7E-AD19-64D73FEF1191}"/>
          </ac:spMkLst>
        </pc:spChg>
        <pc:spChg chg="mod">
          <ac:chgData name="Gracie A Chewning" userId="9de9d667-e019-4a85-82bf-b9f50f141a0d" providerId="ADAL" clId="{3D71291A-9C0C-496C-9CB9-DA43C4AD41A6}" dt="2021-01-27T23:41:25.948" v="1575" actId="20577"/>
          <ac:spMkLst>
            <pc:docMk/>
            <pc:sldMk cId="450641459" sldId="9071"/>
            <ac:spMk id="6" creationId="{DD44C1A4-CC9D-4A4B-B32B-18DEC47A3A50}"/>
          </ac:spMkLst>
        </pc:spChg>
      </pc:sldChg>
      <pc:sldChg chg="add">
        <pc:chgData name="Gracie A Chewning" userId="9de9d667-e019-4a85-82bf-b9f50f141a0d" providerId="ADAL" clId="{3D71291A-9C0C-496C-9CB9-DA43C4AD41A6}" dt="2021-01-27T22:37:45.236" v="8"/>
        <pc:sldMkLst>
          <pc:docMk/>
          <pc:sldMk cId="2991782893" sldId="9075"/>
        </pc:sldMkLst>
      </pc:sldChg>
      <pc:sldChg chg="addSp delSp modSp add addCm modCm">
        <pc:chgData name="Gracie A Chewning" userId="9de9d667-e019-4a85-82bf-b9f50f141a0d" providerId="ADAL" clId="{3D71291A-9C0C-496C-9CB9-DA43C4AD41A6}" dt="2021-01-28T00:30:02.181" v="1602"/>
        <pc:sldMkLst>
          <pc:docMk/>
          <pc:sldMk cId="1447221636" sldId="9079"/>
        </pc:sldMkLst>
        <pc:spChg chg="mod">
          <ac:chgData name="Gracie A Chewning" userId="9de9d667-e019-4a85-82bf-b9f50f141a0d" providerId="ADAL" clId="{3D71291A-9C0C-496C-9CB9-DA43C4AD41A6}" dt="2021-01-27T22:39:38.263" v="37" actId="20577"/>
          <ac:spMkLst>
            <pc:docMk/>
            <pc:sldMk cId="1447221636" sldId="9079"/>
            <ac:spMk id="8" creationId="{62CA0B21-B744-FE43-A932-81C21120730C}"/>
          </ac:spMkLst>
        </pc:spChg>
        <pc:spChg chg="add mod">
          <ac:chgData name="Gracie A Chewning" userId="9de9d667-e019-4a85-82bf-b9f50f141a0d" providerId="ADAL" clId="{3D71291A-9C0C-496C-9CB9-DA43C4AD41A6}" dt="2021-01-27T22:50:36.262" v="162" actId="1076"/>
          <ac:spMkLst>
            <pc:docMk/>
            <pc:sldMk cId="1447221636" sldId="9079"/>
            <ac:spMk id="13" creationId="{42D75159-AC27-42CC-A006-432169A36FDC}"/>
          </ac:spMkLst>
        </pc:spChg>
        <pc:spChg chg="del">
          <ac:chgData name="Gracie A Chewning" userId="9de9d667-e019-4a85-82bf-b9f50f141a0d" providerId="ADAL" clId="{3D71291A-9C0C-496C-9CB9-DA43C4AD41A6}" dt="2021-01-27T22:49:28.396" v="149" actId="478"/>
          <ac:spMkLst>
            <pc:docMk/>
            <pc:sldMk cId="1447221636" sldId="9079"/>
            <ac:spMk id="14" creationId="{C8790A2E-14EC-431A-8D3D-A0C0112FFD41}"/>
          </ac:spMkLst>
        </pc:spChg>
        <pc:spChg chg="mod">
          <ac:chgData name="Gracie A Chewning" userId="9de9d667-e019-4a85-82bf-b9f50f141a0d" providerId="ADAL" clId="{3D71291A-9C0C-496C-9CB9-DA43C4AD41A6}" dt="2021-01-27T22:42:05.624" v="90"/>
          <ac:spMkLst>
            <pc:docMk/>
            <pc:sldMk cId="1447221636" sldId="9079"/>
            <ac:spMk id="21" creationId="{97484700-38C9-49CC-AFE3-401E5C2E2E73}"/>
          </ac:spMkLst>
        </pc:spChg>
        <pc:picChg chg="del">
          <ac:chgData name="Gracie A Chewning" userId="9de9d667-e019-4a85-82bf-b9f50f141a0d" providerId="ADAL" clId="{3D71291A-9C0C-496C-9CB9-DA43C4AD41A6}" dt="2021-01-27T22:41:37.608" v="89" actId="478"/>
          <ac:picMkLst>
            <pc:docMk/>
            <pc:sldMk cId="1447221636" sldId="9079"/>
            <ac:picMk id="3" creationId="{8034ED25-DE14-4A2A-ADFE-2008190209A5}"/>
          </ac:picMkLst>
        </pc:picChg>
        <pc:picChg chg="add mod">
          <ac:chgData name="Gracie A Chewning" userId="9de9d667-e019-4a85-82bf-b9f50f141a0d" providerId="ADAL" clId="{3D71291A-9C0C-496C-9CB9-DA43C4AD41A6}" dt="2021-01-27T22:42:52.507" v="95" actId="1076"/>
          <ac:picMkLst>
            <pc:docMk/>
            <pc:sldMk cId="1447221636" sldId="9079"/>
            <ac:picMk id="4" creationId="{4093A9C8-A302-4410-A45F-19CEEA873A07}"/>
          </ac:picMkLst>
        </pc:picChg>
      </pc:sldChg>
      <pc:sldChg chg="addSp delSp modSp add addCm modCm">
        <pc:chgData name="Gracie A Chewning" userId="9de9d667-e019-4a85-82bf-b9f50f141a0d" providerId="ADAL" clId="{3D71291A-9C0C-496C-9CB9-DA43C4AD41A6}" dt="2021-01-28T00:27:19.481" v="1598"/>
        <pc:sldMkLst>
          <pc:docMk/>
          <pc:sldMk cId="1789405769" sldId="2076137379"/>
        </pc:sldMkLst>
        <pc:spChg chg="add mod">
          <ac:chgData name="Gracie A Chewning" userId="9de9d667-e019-4a85-82bf-b9f50f141a0d" providerId="ADAL" clId="{3D71291A-9C0C-496C-9CB9-DA43C4AD41A6}" dt="2021-01-28T00:26:00.365" v="1596" actId="1076"/>
          <ac:spMkLst>
            <pc:docMk/>
            <pc:sldMk cId="1789405769" sldId="2076137379"/>
            <ac:spMk id="3" creationId="{195875DD-FAE8-42C0-AD9A-2172862440ED}"/>
          </ac:spMkLst>
        </pc:spChg>
        <pc:spChg chg="add mod">
          <ac:chgData name="Gracie A Chewning" userId="9de9d667-e019-4a85-82bf-b9f50f141a0d" providerId="ADAL" clId="{3D71291A-9C0C-496C-9CB9-DA43C4AD41A6}" dt="2021-01-27T23:42:13.464" v="1579" actId="1076"/>
          <ac:spMkLst>
            <pc:docMk/>
            <pc:sldMk cId="1789405769" sldId="2076137379"/>
            <ac:spMk id="21" creationId="{3D133CF7-6C25-43DE-8B16-7A07A82B1BDD}"/>
          </ac:spMkLst>
        </pc:spChg>
        <pc:spChg chg="del">
          <ac:chgData name="Gracie A Chewning" userId="9de9d667-e019-4a85-82bf-b9f50f141a0d" providerId="ADAL" clId="{3D71291A-9C0C-496C-9CB9-DA43C4AD41A6}" dt="2021-01-27T23:41:57.019" v="1578" actId="478"/>
          <ac:spMkLst>
            <pc:docMk/>
            <pc:sldMk cId="1789405769" sldId="2076137379"/>
            <ac:spMk id="124" creationId="{46ED309E-F59D-45A0-B1EE-99B4AA64F61D}"/>
          </ac:spMkLst>
        </pc:spChg>
      </pc:sldChg>
      <pc:sldChg chg="add del">
        <pc:chgData name="Gracie A Chewning" userId="9de9d667-e019-4a85-82bf-b9f50f141a0d" providerId="ADAL" clId="{3D71291A-9C0C-496C-9CB9-DA43C4AD41A6}" dt="2021-01-27T22:37:34.927" v="6" actId="2696"/>
        <pc:sldMkLst>
          <pc:docMk/>
          <pc:sldMk cId="179683513" sldId="2076137380"/>
        </pc:sldMkLst>
      </pc:sldChg>
      <pc:sldChg chg="modSp add">
        <pc:chgData name="Gracie A Chewning" userId="9de9d667-e019-4a85-82bf-b9f50f141a0d" providerId="ADAL" clId="{3D71291A-9C0C-496C-9CB9-DA43C4AD41A6}" dt="2021-01-27T22:38:39.589" v="32" actId="20577"/>
        <pc:sldMkLst>
          <pc:docMk/>
          <pc:sldMk cId="2793015335" sldId="2076137386"/>
        </pc:sldMkLst>
        <pc:graphicFrameChg chg="modGraphic">
          <ac:chgData name="Gracie A Chewning" userId="9de9d667-e019-4a85-82bf-b9f50f141a0d" providerId="ADAL" clId="{3D71291A-9C0C-496C-9CB9-DA43C4AD41A6}" dt="2021-01-27T22:38:39.589" v="32" actId="20577"/>
          <ac:graphicFrameMkLst>
            <pc:docMk/>
            <pc:sldMk cId="2793015335" sldId="2076137386"/>
            <ac:graphicFrameMk id="6" creationId="{78B1BD31-3AF9-4B81-93FC-7241460106EA}"/>
          </ac:graphicFrameMkLst>
        </pc:graphicFrameChg>
      </pc:sldChg>
      <pc:sldChg chg="addSp delSp modSp add">
        <pc:chgData name="Gracie A Chewning" userId="9de9d667-e019-4a85-82bf-b9f50f141a0d" providerId="ADAL" clId="{3D71291A-9C0C-496C-9CB9-DA43C4AD41A6}" dt="2021-01-27T22:49:51.028" v="159" actId="20577"/>
        <pc:sldMkLst>
          <pc:docMk/>
          <pc:sldMk cId="540838727" sldId="2076137387"/>
        </pc:sldMkLst>
        <pc:spChg chg="mod">
          <ac:chgData name="Gracie A Chewning" userId="9de9d667-e019-4a85-82bf-b9f50f141a0d" providerId="ADAL" clId="{3D71291A-9C0C-496C-9CB9-DA43C4AD41A6}" dt="2021-01-27T22:40:13.330" v="55" actId="20577"/>
          <ac:spMkLst>
            <pc:docMk/>
            <pc:sldMk cId="540838727" sldId="2076137387"/>
            <ac:spMk id="8" creationId="{62CA0B21-B744-FE43-A932-81C21120730C}"/>
          </ac:spMkLst>
        </pc:spChg>
        <pc:spChg chg="mod">
          <ac:chgData name="Gracie A Chewning" userId="9de9d667-e019-4a85-82bf-b9f50f141a0d" providerId="ADAL" clId="{3D71291A-9C0C-496C-9CB9-DA43C4AD41A6}" dt="2021-01-27T22:49:51.028" v="159" actId="20577"/>
          <ac:spMkLst>
            <pc:docMk/>
            <pc:sldMk cId="540838727" sldId="2076137387"/>
            <ac:spMk id="14" creationId="{C8790A2E-14EC-431A-8D3D-A0C0112FFD41}"/>
          </ac:spMkLst>
        </pc:spChg>
        <pc:spChg chg="mod">
          <ac:chgData name="Gracie A Chewning" userId="9de9d667-e019-4a85-82bf-b9f50f141a0d" providerId="ADAL" clId="{3D71291A-9C0C-496C-9CB9-DA43C4AD41A6}" dt="2021-01-27T22:44:08.543" v="106" actId="404"/>
          <ac:spMkLst>
            <pc:docMk/>
            <pc:sldMk cId="540838727" sldId="2076137387"/>
            <ac:spMk id="16" creationId="{F82660D4-174E-494B-8138-62CC2BD92056}"/>
          </ac:spMkLst>
        </pc:spChg>
        <pc:spChg chg="mod">
          <ac:chgData name="Gracie A Chewning" userId="9de9d667-e019-4a85-82bf-b9f50f141a0d" providerId="ADAL" clId="{3D71291A-9C0C-496C-9CB9-DA43C4AD41A6}" dt="2021-01-27T22:43:12.675" v="96"/>
          <ac:spMkLst>
            <pc:docMk/>
            <pc:sldMk cId="540838727" sldId="2076137387"/>
            <ac:spMk id="21" creationId="{97484700-38C9-49CC-AFE3-401E5C2E2E73}"/>
          </ac:spMkLst>
        </pc:spChg>
        <pc:spChg chg="mod ord">
          <ac:chgData name="Gracie A Chewning" userId="9de9d667-e019-4a85-82bf-b9f50f141a0d" providerId="ADAL" clId="{3D71291A-9C0C-496C-9CB9-DA43C4AD41A6}" dt="2021-01-27T22:45:02.325" v="124" actId="14100"/>
          <ac:spMkLst>
            <pc:docMk/>
            <pc:sldMk cId="540838727" sldId="2076137387"/>
            <ac:spMk id="25" creationId="{62E2E481-4606-4BD4-8D5E-F25AB30BF51F}"/>
          </ac:spMkLst>
        </pc:spChg>
        <pc:picChg chg="del">
          <ac:chgData name="Gracie A Chewning" userId="9de9d667-e019-4a85-82bf-b9f50f141a0d" providerId="ADAL" clId="{3D71291A-9C0C-496C-9CB9-DA43C4AD41A6}" dt="2021-01-27T22:40:22.241" v="59" actId="478"/>
          <ac:picMkLst>
            <pc:docMk/>
            <pc:sldMk cId="540838727" sldId="2076137387"/>
            <ac:picMk id="3" creationId="{8034ED25-DE14-4A2A-ADFE-2008190209A5}"/>
          </ac:picMkLst>
        </pc:picChg>
        <pc:picChg chg="add mod modCrop">
          <ac:chgData name="Gracie A Chewning" userId="9de9d667-e019-4a85-82bf-b9f50f141a0d" providerId="ADAL" clId="{3D71291A-9C0C-496C-9CB9-DA43C4AD41A6}" dt="2021-01-27T22:45:08.011" v="126" actId="1076"/>
          <ac:picMkLst>
            <pc:docMk/>
            <pc:sldMk cId="540838727" sldId="2076137387"/>
            <ac:picMk id="13" creationId="{CBB0D70F-FC1F-44BE-878C-4B51F5433A63}"/>
          </ac:picMkLst>
        </pc:picChg>
      </pc:sldChg>
      <pc:sldChg chg="add del">
        <pc:chgData name="Gracie A Chewning" userId="9de9d667-e019-4a85-82bf-b9f50f141a0d" providerId="ADAL" clId="{3D71291A-9C0C-496C-9CB9-DA43C4AD41A6}" dt="2021-01-27T22:39:54.367" v="43"/>
        <pc:sldMkLst>
          <pc:docMk/>
          <pc:sldMk cId="3815491261" sldId="2076137387"/>
        </pc:sldMkLst>
      </pc:sldChg>
      <pc:sldChg chg="add">
        <pc:chgData name="Gracie A Chewning" userId="9de9d667-e019-4a85-82bf-b9f50f141a0d" providerId="ADAL" clId="{3D71291A-9C0C-496C-9CB9-DA43C4AD41A6}" dt="2021-01-27T22:47:41.201" v="136"/>
        <pc:sldMkLst>
          <pc:docMk/>
          <pc:sldMk cId="552563287" sldId="2076137388"/>
        </pc:sldMkLst>
      </pc:sldChg>
      <pc:sldChg chg="add del">
        <pc:chgData name="Gracie A Chewning" userId="9de9d667-e019-4a85-82bf-b9f50f141a0d" providerId="ADAL" clId="{3D71291A-9C0C-496C-9CB9-DA43C4AD41A6}" dt="2021-01-27T22:39:53.587" v="42"/>
        <pc:sldMkLst>
          <pc:docMk/>
          <pc:sldMk cId="1027611327" sldId="2076137388"/>
        </pc:sldMkLst>
      </pc:sldChg>
      <pc:sldChg chg="addSp delSp modSp add del">
        <pc:chgData name="Gracie A Chewning" userId="9de9d667-e019-4a85-82bf-b9f50f141a0d" providerId="ADAL" clId="{3D71291A-9C0C-496C-9CB9-DA43C4AD41A6}" dt="2021-01-27T22:47:20" v="135" actId="2696"/>
        <pc:sldMkLst>
          <pc:docMk/>
          <pc:sldMk cId="1646269538" sldId="2076137388"/>
        </pc:sldMkLst>
        <pc:spChg chg="add del">
          <ac:chgData name="Gracie A Chewning" userId="9de9d667-e019-4a85-82bf-b9f50f141a0d" providerId="ADAL" clId="{3D71291A-9C0C-496C-9CB9-DA43C4AD41A6}" dt="2021-01-27T22:45:43.937" v="131"/>
          <ac:spMkLst>
            <pc:docMk/>
            <pc:sldMk cId="1646269538" sldId="2076137388"/>
            <ac:spMk id="2" creationId="{B076242C-CF35-411E-8E53-A485E6A864A7}"/>
          </ac:spMkLst>
        </pc:spChg>
        <pc:spChg chg="add del">
          <ac:chgData name="Gracie A Chewning" userId="9de9d667-e019-4a85-82bf-b9f50f141a0d" providerId="ADAL" clId="{3D71291A-9C0C-496C-9CB9-DA43C4AD41A6}" dt="2021-01-27T22:45:43.937" v="131"/>
          <ac:spMkLst>
            <pc:docMk/>
            <pc:sldMk cId="1646269538" sldId="2076137388"/>
            <ac:spMk id="4" creationId="{3D8608F6-705B-42D2-969C-48D272EC0584}"/>
          </ac:spMkLst>
        </pc:spChg>
        <pc:spChg chg="add del">
          <ac:chgData name="Gracie A Chewning" userId="9de9d667-e019-4a85-82bf-b9f50f141a0d" providerId="ADAL" clId="{3D71291A-9C0C-496C-9CB9-DA43C4AD41A6}" dt="2021-01-27T22:45:43.937" v="131"/>
          <ac:spMkLst>
            <pc:docMk/>
            <pc:sldMk cId="1646269538" sldId="2076137388"/>
            <ac:spMk id="5" creationId="{2CCAD7EC-FC37-4E6E-BD7B-DDBCDA930A84}"/>
          </ac:spMkLst>
        </pc:spChg>
        <pc:spChg chg="mod">
          <ac:chgData name="Gracie A Chewning" userId="9de9d667-e019-4a85-82bf-b9f50f141a0d" providerId="ADAL" clId="{3D71291A-9C0C-496C-9CB9-DA43C4AD41A6}" dt="2021-01-27T22:40:17.015" v="57" actId="20577"/>
          <ac:spMkLst>
            <pc:docMk/>
            <pc:sldMk cId="1646269538" sldId="2076137388"/>
            <ac:spMk id="8" creationId="{62CA0B21-B744-FE43-A932-81C21120730C}"/>
          </ac:spMkLst>
        </pc:spChg>
        <pc:spChg chg="add del">
          <ac:chgData name="Gracie A Chewning" userId="9de9d667-e019-4a85-82bf-b9f50f141a0d" providerId="ADAL" clId="{3D71291A-9C0C-496C-9CB9-DA43C4AD41A6}" dt="2021-01-27T22:45:43.937" v="131"/>
          <ac:spMkLst>
            <pc:docMk/>
            <pc:sldMk cId="1646269538" sldId="2076137388"/>
            <ac:spMk id="13" creationId="{5F14A1F8-6BFE-4C04-862B-7A8DD32EB4E1}"/>
          </ac:spMkLst>
        </pc:spChg>
        <pc:spChg chg="add del mod">
          <ac:chgData name="Gracie A Chewning" userId="9de9d667-e019-4a85-82bf-b9f50f141a0d" providerId="ADAL" clId="{3D71291A-9C0C-496C-9CB9-DA43C4AD41A6}" dt="2021-01-27T22:46:20.703" v="133" actId="20577"/>
          <ac:spMkLst>
            <pc:docMk/>
            <pc:sldMk cId="1646269538" sldId="2076137388"/>
            <ac:spMk id="21" creationId="{97484700-38C9-49CC-AFE3-401E5C2E2E73}"/>
          </ac:spMkLst>
        </pc:spChg>
        <pc:picChg chg="del">
          <ac:chgData name="Gracie A Chewning" userId="9de9d667-e019-4a85-82bf-b9f50f141a0d" providerId="ADAL" clId="{3D71291A-9C0C-496C-9CB9-DA43C4AD41A6}" dt="2021-01-27T22:40:19.218" v="58" actId="478"/>
          <ac:picMkLst>
            <pc:docMk/>
            <pc:sldMk cId="1646269538" sldId="2076137388"/>
            <ac:picMk id="3" creationId="{8034ED25-DE14-4A2A-ADFE-2008190209A5}"/>
          </ac:picMkLst>
        </pc:picChg>
        <pc:picChg chg="add del">
          <ac:chgData name="Gracie A Chewning" userId="9de9d667-e019-4a85-82bf-b9f50f141a0d" providerId="ADAL" clId="{3D71291A-9C0C-496C-9CB9-DA43C4AD41A6}" dt="2021-01-27T22:45:43.937" v="131"/>
          <ac:picMkLst>
            <pc:docMk/>
            <pc:sldMk cId="1646269538" sldId="2076137388"/>
            <ac:picMk id="11265" creationId="{9B7C4738-23D1-40AE-B0A7-25E17FEC0F4A}"/>
          </ac:picMkLst>
        </pc:picChg>
      </pc:sldChg>
      <pc:sldChg chg="add del">
        <pc:chgData name="Gracie A Chewning" userId="9de9d667-e019-4a85-82bf-b9f50f141a0d" providerId="ADAL" clId="{3D71291A-9C0C-496C-9CB9-DA43C4AD41A6}" dt="2021-01-27T22:39:52.642" v="41"/>
        <pc:sldMkLst>
          <pc:docMk/>
          <pc:sldMk cId="2304747906" sldId="2076137389"/>
        </pc:sldMkLst>
      </pc:sldChg>
      <pc:sldChg chg="delSp modSp add del">
        <pc:chgData name="Gracie A Chewning" userId="9de9d667-e019-4a85-82bf-b9f50f141a0d" providerId="ADAL" clId="{3D71291A-9C0C-496C-9CB9-DA43C4AD41A6}" dt="2021-01-27T22:48:50.624" v="147" actId="2696"/>
        <pc:sldMkLst>
          <pc:docMk/>
          <pc:sldMk cId="3673284091" sldId="2076137389"/>
        </pc:sldMkLst>
        <pc:spChg chg="mod">
          <ac:chgData name="Gracie A Chewning" userId="9de9d667-e019-4a85-82bf-b9f50f141a0d" providerId="ADAL" clId="{3D71291A-9C0C-496C-9CB9-DA43C4AD41A6}" dt="2021-01-27T22:40:28.067" v="63" actId="20577"/>
          <ac:spMkLst>
            <pc:docMk/>
            <pc:sldMk cId="3673284091" sldId="2076137389"/>
            <ac:spMk id="8" creationId="{62CA0B21-B744-FE43-A932-81C21120730C}"/>
          </ac:spMkLst>
        </pc:spChg>
        <pc:picChg chg="del">
          <ac:chgData name="Gracie A Chewning" userId="9de9d667-e019-4a85-82bf-b9f50f141a0d" providerId="ADAL" clId="{3D71291A-9C0C-496C-9CB9-DA43C4AD41A6}" dt="2021-01-27T22:40:30.080" v="64" actId="478"/>
          <ac:picMkLst>
            <pc:docMk/>
            <pc:sldMk cId="3673284091" sldId="2076137389"/>
            <ac:picMk id="3" creationId="{8034ED25-DE14-4A2A-ADFE-2008190209A5}"/>
          </ac:picMkLst>
        </pc:picChg>
      </pc:sldChg>
      <pc:sldChg chg="delSp modSp add del">
        <pc:chgData name="Gracie A Chewning" userId="9de9d667-e019-4a85-82bf-b9f50f141a0d" providerId="ADAL" clId="{3D71291A-9C0C-496C-9CB9-DA43C4AD41A6}" dt="2021-01-27T22:48:23.221" v="140" actId="2696"/>
        <pc:sldMkLst>
          <pc:docMk/>
          <pc:sldMk cId="2549929061" sldId="2076137390"/>
        </pc:sldMkLst>
        <pc:spChg chg="mod">
          <ac:chgData name="Gracie A Chewning" userId="9de9d667-e019-4a85-82bf-b9f50f141a0d" providerId="ADAL" clId="{3D71291A-9C0C-496C-9CB9-DA43C4AD41A6}" dt="2021-01-27T22:40:35.678" v="67" actId="20577"/>
          <ac:spMkLst>
            <pc:docMk/>
            <pc:sldMk cId="2549929061" sldId="2076137390"/>
            <ac:spMk id="8" creationId="{62CA0B21-B744-FE43-A932-81C21120730C}"/>
          </ac:spMkLst>
        </pc:spChg>
        <pc:picChg chg="del">
          <ac:chgData name="Gracie A Chewning" userId="9de9d667-e019-4a85-82bf-b9f50f141a0d" providerId="ADAL" clId="{3D71291A-9C0C-496C-9CB9-DA43C4AD41A6}" dt="2021-01-27T22:40:33.405" v="65" actId="478"/>
          <ac:picMkLst>
            <pc:docMk/>
            <pc:sldMk cId="2549929061" sldId="2076137390"/>
            <ac:picMk id="3" creationId="{8034ED25-DE14-4A2A-ADFE-2008190209A5}"/>
          </ac:picMkLst>
        </pc:picChg>
      </pc:sldChg>
      <pc:sldChg chg="delSp modSp add del">
        <pc:chgData name="Gracie A Chewning" userId="9de9d667-e019-4a85-82bf-b9f50f141a0d" providerId="ADAL" clId="{3D71291A-9C0C-496C-9CB9-DA43C4AD41A6}" dt="2021-01-27T22:48:14.197" v="138" actId="2696"/>
        <pc:sldMkLst>
          <pc:docMk/>
          <pc:sldMk cId="2012560374" sldId="2076137391"/>
        </pc:sldMkLst>
        <pc:spChg chg="mod">
          <ac:chgData name="Gracie A Chewning" userId="9de9d667-e019-4a85-82bf-b9f50f141a0d" providerId="ADAL" clId="{3D71291A-9C0C-496C-9CB9-DA43C4AD41A6}" dt="2021-01-27T22:40:43.315" v="72" actId="20577"/>
          <ac:spMkLst>
            <pc:docMk/>
            <pc:sldMk cId="2012560374" sldId="2076137391"/>
            <ac:spMk id="8" creationId="{62CA0B21-B744-FE43-A932-81C21120730C}"/>
          </ac:spMkLst>
        </pc:spChg>
        <pc:picChg chg="del">
          <ac:chgData name="Gracie A Chewning" userId="9de9d667-e019-4a85-82bf-b9f50f141a0d" providerId="ADAL" clId="{3D71291A-9C0C-496C-9CB9-DA43C4AD41A6}" dt="2021-01-27T22:40:39.016" v="68" actId="478"/>
          <ac:picMkLst>
            <pc:docMk/>
            <pc:sldMk cId="2012560374" sldId="2076137391"/>
            <ac:picMk id="3" creationId="{8034ED25-DE14-4A2A-ADFE-2008190209A5}"/>
          </ac:picMkLst>
        </pc:picChg>
      </pc:sldChg>
      <pc:sldChg chg="delSp modSp add del">
        <pc:chgData name="Gracie A Chewning" userId="9de9d667-e019-4a85-82bf-b9f50f141a0d" providerId="ADAL" clId="{3D71291A-9C0C-496C-9CB9-DA43C4AD41A6}" dt="2021-01-27T22:48:17.118" v="139" actId="2696"/>
        <pc:sldMkLst>
          <pc:docMk/>
          <pc:sldMk cId="3752298692" sldId="2076137392"/>
        </pc:sldMkLst>
        <pc:spChg chg="mod">
          <ac:chgData name="Gracie A Chewning" userId="9de9d667-e019-4a85-82bf-b9f50f141a0d" providerId="ADAL" clId="{3D71291A-9C0C-496C-9CB9-DA43C4AD41A6}" dt="2021-01-27T22:40:47.363" v="74" actId="20577"/>
          <ac:spMkLst>
            <pc:docMk/>
            <pc:sldMk cId="3752298692" sldId="2076137392"/>
            <ac:spMk id="8" creationId="{62CA0B21-B744-FE43-A932-81C21120730C}"/>
          </ac:spMkLst>
        </pc:spChg>
        <pc:picChg chg="del">
          <ac:chgData name="Gracie A Chewning" userId="9de9d667-e019-4a85-82bf-b9f50f141a0d" providerId="ADAL" clId="{3D71291A-9C0C-496C-9CB9-DA43C4AD41A6}" dt="2021-01-27T22:40:48.824" v="75" actId="478"/>
          <ac:picMkLst>
            <pc:docMk/>
            <pc:sldMk cId="3752298692" sldId="2076137392"/>
            <ac:picMk id="3" creationId="{8034ED25-DE14-4A2A-ADFE-2008190209A5}"/>
          </ac:picMkLst>
        </pc:picChg>
      </pc:sldChg>
      <pc:sldChg chg="addSp delSp modSp add">
        <pc:chgData name="Gracie A Chewning" userId="9de9d667-e019-4a85-82bf-b9f50f141a0d" providerId="ADAL" clId="{3D71291A-9C0C-496C-9CB9-DA43C4AD41A6}" dt="2021-01-27T22:54:00.804" v="246" actId="20577"/>
        <pc:sldMkLst>
          <pc:docMk/>
          <pc:sldMk cId="2842145674" sldId="2076137393"/>
        </pc:sldMkLst>
        <pc:spChg chg="mod">
          <ac:chgData name="Gracie A Chewning" userId="9de9d667-e019-4a85-82bf-b9f50f141a0d" providerId="ADAL" clId="{3D71291A-9C0C-496C-9CB9-DA43C4AD41A6}" dt="2021-01-27T22:40:52.888" v="77" actId="20577"/>
          <ac:spMkLst>
            <pc:docMk/>
            <pc:sldMk cId="2842145674" sldId="2076137393"/>
            <ac:spMk id="8" creationId="{62CA0B21-B744-FE43-A932-81C21120730C}"/>
          </ac:spMkLst>
        </pc:spChg>
        <pc:spChg chg="mod">
          <ac:chgData name="Gracie A Chewning" userId="9de9d667-e019-4a85-82bf-b9f50f141a0d" providerId="ADAL" clId="{3D71291A-9C0C-496C-9CB9-DA43C4AD41A6}" dt="2021-01-27T22:54:00.804" v="246" actId="20577"/>
          <ac:spMkLst>
            <pc:docMk/>
            <pc:sldMk cId="2842145674" sldId="2076137393"/>
            <ac:spMk id="14" creationId="{C8790A2E-14EC-431A-8D3D-A0C0112FFD41}"/>
          </ac:spMkLst>
        </pc:spChg>
        <pc:spChg chg="del">
          <ac:chgData name="Gracie A Chewning" userId="9de9d667-e019-4a85-82bf-b9f50f141a0d" providerId="ADAL" clId="{3D71291A-9C0C-496C-9CB9-DA43C4AD41A6}" dt="2021-01-27T22:53:54.609" v="237" actId="478"/>
          <ac:spMkLst>
            <pc:docMk/>
            <pc:sldMk cId="2842145674" sldId="2076137393"/>
            <ac:spMk id="16" creationId="{F82660D4-174E-494B-8138-62CC2BD92056}"/>
          </ac:spMkLst>
        </pc:spChg>
        <pc:spChg chg="mod">
          <ac:chgData name="Gracie A Chewning" userId="9de9d667-e019-4a85-82bf-b9f50f141a0d" providerId="ADAL" clId="{3D71291A-9C0C-496C-9CB9-DA43C4AD41A6}" dt="2021-01-27T22:53:11.636" v="230"/>
          <ac:spMkLst>
            <pc:docMk/>
            <pc:sldMk cId="2842145674" sldId="2076137393"/>
            <ac:spMk id="21" creationId="{97484700-38C9-49CC-AFE3-401E5C2E2E73}"/>
          </ac:spMkLst>
        </pc:spChg>
        <pc:spChg chg="mod">
          <ac:chgData name="Gracie A Chewning" userId="9de9d667-e019-4a85-82bf-b9f50f141a0d" providerId="ADAL" clId="{3D71291A-9C0C-496C-9CB9-DA43C4AD41A6}" dt="2021-01-27T22:53:46.125" v="236" actId="14100"/>
          <ac:spMkLst>
            <pc:docMk/>
            <pc:sldMk cId="2842145674" sldId="2076137393"/>
            <ac:spMk id="25" creationId="{62E2E481-4606-4BD4-8D5E-F25AB30BF51F}"/>
          </ac:spMkLst>
        </pc:spChg>
        <pc:picChg chg="del">
          <ac:chgData name="Gracie A Chewning" userId="9de9d667-e019-4a85-82bf-b9f50f141a0d" providerId="ADAL" clId="{3D71291A-9C0C-496C-9CB9-DA43C4AD41A6}" dt="2021-01-27T22:40:54.566" v="78" actId="478"/>
          <ac:picMkLst>
            <pc:docMk/>
            <pc:sldMk cId="2842145674" sldId="2076137393"/>
            <ac:picMk id="3" creationId="{8034ED25-DE14-4A2A-ADFE-2008190209A5}"/>
          </ac:picMkLst>
        </pc:picChg>
        <pc:picChg chg="add mod ord">
          <ac:chgData name="Gracie A Chewning" userId="9de9d667-e019-4a85-82bf-b9f50f141a0d" providerId="ADAL" clId="{3D71291A-9C0C-496C-9CB9-DA43C4AD41A6}" dt="2021-01-27T22:53:33.990" v="234" actId="167"/>
          <ac:picMkLst>
            <pc:docMk/>
            <pc:sldMk cId="2842145674" sldId="2076137393"/>
            <ac:picMk id="13" creationId="{BCECCB24-C1A6-4D86-8820-BC5650FBD816}"/>
          </ac:picMkLst>
        </pc:picChg>
      </pc:sldChg>
      <pc:sldChg chg="addSp delSp modSp add">
        <pc:chgData name="Gracie A Chewning" userId="9de9d667-e019-4a85-82bf-b9f50f141a0d" providerId="ADAL" clId="{3D71291A-9C0C-496C-9CB9-DA43C4AD41A6}" dt="2021-01-27T22:58:06.146" v="318" actId="1036"/>
        <pc:sldMkLst>
          <pc:docMk/>
          <pc:sldMk cId="1067674525" sldId="2076137394"/>
        </pc:sldMkLst>
        <pc:spChg chg="mod">
          <ac:chgData name="Gracie A Chewning" userId="9de9d667-e019-4a85-82bf-b9f50f141a0d" providerId="ADAL" clId="{3D71291A-9C0C-496C-9CB9-DA43C4AD41A6}" dt="2021-01-27T22:40:59.489" v="80" actId="20577"/>
          <ac:spMkLst>
            <pc:docMk/>
            <pc:sldMk cId="1067674525" sldId="2076137394"/>
            <ac:spMk id="8" creationId="{62CA0B21-B744-FE43-A932-81C21120730C}"/>
          </ac:spMkLst>
        </pc:spChg>
        <pc:spChg chg="del">
          <ac:chgData name="Gracie A Chewning" userId="9de9d667-e019-4a85-82bf-b9f50f141a0d" providerId="ADAL" clId="{3D71291A-9C0C-496C-9CB9-DA43C4AD41A6}" dt="2021-01-27T22:55:17.586" v="265" actId="478"/>
          <ac:spMkLst>
            <pc:docMk/>
            <pc:sldMk cId="1067674525" sldId="2076137394"/>
            <ac:spMk id="16" creationId="{F82660D4-174E-494B-8138-62CC2BD92056}"/>
          </ac:spMkLst>
        </pc:spChg>
        <pc:spChg chg="mod">
          <ac:chgData name="Gracie A Chewning" userId="9de9d667-e019-4a85-82bf-b9f50f141a0d" providerId="ADAL" clId="{3D71291A-9C0C-496C-9CB9-DA43C4AD41A6}" dt="2021-01-27T22:55:12.313" v="264" actId="20577"/>
          <ac:spMkLst>
            <pc:docMk/>
            <pc:sldMk cId="1067674525" sldId="2076137394"/>
            <ac:spMk id="21" creationId="{97484700-38C9-49CC-AFE3-401E5C2E2E73}"/>
          </ac:spMkLst>
        </pc:spChg>
        <pc:spChg chg="mod">
          <ac:chgData name="Gracie A Chewning" userId="9de9d667-e019-4a85-82bf-b9f50f141a0d" providerId="ADAL" clId="{3D71291A-9C0C-496C-9CB9-DA43C4AD41A6}" dt="2021-01-27T22:58:06.146" v="318" actId="1036"/>
          <ac:spMkLst>
            <pc:docMk/>
            <pc:sldMk cId="1067674525" sldId="2076137394"/>
            <ac:spMk id="25" creationId="{62E2E481-4606-4BD4-8D5E-F25AB30BF51F}"/>
          </ac:spMkLst>
        </pc:spChg>
        <pc:picChg chg="del">
          <ac:chgData name="Gracie A Chewning" userId="9de9d667-e019-4a85-82bf-b9f50f141a0d" providerId="ADAL" clId="{3D71291A-9C0C-496C-9CB9-DA43C4AD41A6}" dt="2021-01-27T22:41:00.969" v="81" actId="478"/>
          <ac:picMkLst>
            <pc:docMk/>
            <pc:sldMk cId="1067674525" sldId="2076137394"/>
            <ac:picMk id="3" creationId="{8034ED25-DE14-4A2A-ADFE-2008190209A5}"/>
          </ac:picMkLst>
        </pc:picChg>
        <pc:picChg chg="add mod ord modCrop">
          <ac:chgData name="Gracie A Chewning" userId="9de9d667-e019-4a85-82bf-b9f50f141a0d" providerId="ADAL" clId="{3D71291A-9C0C-496C-9CB9-DA43C4AD41A6}" dt="2021-01-27T22:58:06.146" v="318" actId="1036"/>
          <ac:picMkLst>
            <pc:docMk/>
            <pc:sldMk cId="1067674525" sldId="2076137394"/>
            <ac:picMk id="13" creationId="{DECCCDA6-4369-4FAC-91DD-7D3779F87FF0}"/>
          </ac:picMkLst>
        </pc:picChg>
        <pc:picChg chg="add mod modCrop">
          <ac:chgData name="Gracie A Chewning" userId="9de9d667-e019-4a85-82bf-b9f50f141a0d" providerId="ADAL" clId="{3D71291A-9C0C-496C-9CB9-DA43C4AD41A6}" dt="2021-01-27T22:58:06.146" v="318" actId="1036"/>
          <ac:picMkLst>
            <pc:docMk/>
            <pc:sldMk cId="1067674525" sldId="2076137394"/>
            <ac:picMk id="15" creationId="{5EEBE7B4-C47A-4F7D-8AA1-DB0B0416D401}"/>
          </ac:picMkLst>
        </pc:picChg>
        <pc:cxnChg chg="add mod">
          <ac:chgData name="Gracie A Chewning" userId="9de9d667-e019-4a85-82bf-b9f50f141a0d" providerId="ADAL" clId="{3D71291A-9C0C-496C-9CB9-DA43C4AD41A6}" dt="2021-01-27T22:58:06.146" v="318" actId="1036"/>
          <ac:cxnSpMkLst>
            <pc:docMk/>
            <pc:sldMk cId="1067674525" sldId="2076137394"/>
            <ac:cxnSpMk id="17" creationId="{EB5072FD-97A0-4476-9807-69A0004272CC}"/>
          </ac:cxnSpMkLst>
        </pc:cxnChg>
      </pc:sldChg>
      <pc:sldChg chg="addSp delSp modSp add">
        <pc:chgData name="Gracie A Chewning" userId="9de9d667-e019-4a85-82bf-b9f50f141a0d" providerId="ADAL" clId="{3D71291A-9C0C-496C-9CB9-DA43C4AD41A6}" dt="2021-01-27T23:27:14.352" v="1223" actId="20577"/>
        <pc:sldMkLst>
          <pc:docMk/>
          <pc:sldMk cId="597749760" sldId="2076137395"/>
        </pc:sldMkLst>
        <pc:spChg chg="mod">
          <ac:chgData name="Gracie A Chewning" userId="9de9d667-e019-4a85-82bf-b9f50f141a0d" providerId="ADAL" clId="{3D71291A-9C0C-496C-9CB9-DA43C4AD41A6}" dt="2021-01-27T22:41:06.020" v="86" actId="20577"/>
          <ac:spMkLst>
            <pc:docMk/>
            <pc:sldMk cId="597749760" sldId="2076137395"/>
            <ac:spMk id="8" creationId="{62CA0B21-B744-FE43-A932-81C21120730C}"/>
          </ac:spMkLst>
        </pc:spChg>
        <pc:spChg chg="mod">
          <ac:chgData name="Gracie A Chewning" userId="9de9d667-e019-4a85-82bf-b9f50f141a0d" providerId="ADAL" clId="{3D71291A-9C0C-496C-9CB9-DA43C4AD41A6}" dt="2021-01-27T23:27:14.352" v="1223" actId="20577"/>
          <ac:spMkLst>
            <pc:docMk/>
            <pc:sldMk cId="597749760" sldId="2076137395"/>
            <ac:spMk id="14" creationId="{C8790A2E-14EC-431A-8D3D-A0C0112FFD41}"/>
          </ac:spMkLst>
        </pc:spChg>
        <pc:spChg chg="del">
          <ac:chgData name="Gracie A Chewning" userId="9de9d667-e019-4a85-82bf-b9f50f141a0d" providerId="ADAL" clId="{3D71291A-9C0C-496C-9CB9-DA43C4AD41A6}" dt="2021-01-27T23:27:00.311" v="1195" actId="478"/>
          <ac:spMkLst>
            <pc:docMk/>
            <pc:sldMk cId="597749760" sldId="2076137395"/>
            <ac:spMk id="16" creationId="{F82660D4-174E-494B-8138-62CC2BD92056}"/>
          </ac:spMkLst>
        </pc:spChg>
        <pc:spChg chg="mod">
          <ac:chgData name="Gracie A Chewning" userId="9de9d667-e019-4a85-82bf-b9f50f141a0d" providerId="ADAL" clId="{3D71291A-9C0C-496C-9CB9-DA43C4AD41A6}" dt="2021-01-27T23:26:23.216" v="1186" actId="20577"/>
          <ac:spMkLst>
            <pc:docMk/>
            <pc:sldMk cId="597749760" sldId="2076137395"/>
            <ac:spMk id="21" creationId="{97484700-38C9-49CC-AFE3-401E5C2E2E73}"/>
          </ac:spMkLst>
        </pc:spChg>
        <pc:spChg chg="mod">
          <ac:chgData name="Gracie A Chewning" userId="9de9d667-e019-4a85-82bf-b9f50f141a0d" providerId="ADAL" clId="{3D71291A-9C0C-496C-9CB9-DA43C4AD41A6}" dt="2021-01-27T23:26:56.482" v="1194" actId="14100"/>
          <ac:spMkLst>
            <pc:docMk/>
            <pc:sldMk cId="597749760" sldId="2076137395"/>
            <ac:spMk id="25" creationId="{62E2E481-4606-4BD4-8D5E-F25AB30BF51F}"/>
          </ac:spMkLst>
        </pc:spChg>
        <pc:picChg chg="del">
          <ac:chgData name="Gracie A Chewning" userId="9de9d667-e019-4a85-82bf-b9f50f141a0d" providerId="ADAL" clId="{3D71291A-9C0C-496C-9CB9-DA43C4AD41A6}" dt="2021-01-27T22:41:07.223" v="87" actId="478"/>
          <ac:picMkLst>
            <pc:docMk/>
            <pc:sldMk cId="597749760" sldId="2076137395"/>
            <ac:picMk id="3" creationId="{8034ED25-DE14-4A2A-ADFE-2008190209A5}"/>
          </ac:picMkLst>
        </pc:picChg>
        <pc:picChg chg="add mod ord">
          <ac:chgData name="Gracie A Chewning" userId="9de9d667-e019-4a85-82bf-b9f50f141a0d" providerId="ADAL" clId="{3D71291A-9C0C-496C-9CB9-DA43C4AD41A6}" dt="2021-01-27T23:26:47.610" v="1192" actId="1076"/>
          <ac:picMkLst>
            <pc:docMk/>
            <pc:sldMk cId="597749760" sldId="2076137395"/>
            <ac:picMk id="13" creationId="{67568EFF-B6A4-431D-9B06-5F7A4796D58C}"/>
          </ac:picMkLst>
        </pc:picChg>
      </pc:sldChg>
      <pc:sldChg chg="addSp delSp modSp add">
        <pc:chgData name="Gracie A Chewning" userId="9de9d667-e019-4a85-82bf-b9f50f141a0d" providerId="ADAL" clId="{3D71291A-9C0C-496C-9CB9-DA43C4AD41A6}" dt="2021-01-27T23:32:29.778" v="1305" actId="1076"/>
        <pc:sldMkLst>
          <pc:docMk/>
          <pc:sldMk cId="781407554" sldId="2076137396"/>
        </pc:sldMkLst>
        <pc:spChg chg="add mod">
          <ac:chgData name="Gracie A Chewning" userId="9de9d667-e019-4a85-82bf-b9f50f141a0d" providerId="ADAL" clId="{3D71291A-9C0C-496C-9CB9-DA43C4AD41A6}" dt="2021-01-27T23:32:19.650" v="1302" actId="113"/>
          <ac:spMkLst>
            <pc:docMk/>
            <pc:sldMk cId="781407554" sldId="2076137396"/>
            <ac:spMk id="2" creationId="{DBB453A1-70FF-4446-AA8B-6C396681D3BA}"/>
          </ac:spMkLst>
        </pc:spChg>
        <pc:spChg chg="mod">
          <ac:chgData name="Gracie A Chewning" userId="9de9d667-e019-4a85-82bf-b9f50f141a0d" providerId="ADAL" clId="{3D71291A-9C0C-496C-9CB9-DA43C4AD41A6}" dt="2021-01-27T22:41:10.146" v="88" actId="20577"/>
          <ac:spMkLst>
            <pc:docMk/>
            <pc:sldMk cId="781407554" sldId="2076137396"/>
            <ac:spMk id="8" creationId="{62CA0B21-B744-FE43-A932-81C21120730C}"/>
          </ac:spMkLst>
        </pc:spChg>
        <pc:spChg chg="mod">
          <ac:chgData name="Gracie A Chewning" userId="9de9d667-e019-4a85-82bf-b9f50f141a0d" providerId="ADAL" clId="{3D71291A-9C0C-496C-9CB9-DA43C4AD41A6}" dt="2021-01-27T23:28:11.333" v="1244" actId="1076"/>
          <ac:spMkLst>
            <pc:docMk/>
            <pc:sldMk cId="781407554" sldId="2076137396"/>
            <ac:spMk id="11" creationId="{F05B4A8E-78C0-42FA-AC31-D4D29053386D}"/>
          </ac:spMkLst>
        </pc:spChg>
        <pc:spChg chg="mod">
          <ac:chgData name="Gracie A Chewning" userId="9de9d667-e019-4a85-82bf-b9f50f141a0d" providerId="ADAL" clId="{3D71291A-9C0C-496C-9CB9-DA43C4AD41A6}" dt="2021-01-27T23:28:59.308" v="1259" actId="20577"/>
          <ac:spMkLst>
            <pc:docMk/>
            <pc:sldMk cId="781407554" sldId="2076137396"/>
            <ac:spMk id="14" creationId="{C8790A2E-14EC-431A-8D3D-A0C0112FFD41}"/>
          </ac:spMkLst>
        </pc:spChg>
        <pc:spChg chg="add del mod">
          <ac:chgData name="Gracie A Chewning" userId="9de9d667-e019-4a85-82bf-b9f50f141a0d" providerId="ADAL" clId="{3D71291A-9C0C-496C-9CB9-DA43C4AD41A6}" dt="2021-01-27T23:28:48.865" v="1249" actId="478"/>
          <ac:spMkLst>
            <pc:docMk/>
            <pc:sldMk cId="781407554" sldId="2076137396"/>
            <ac:spMk id="16" creationId="{F82660D4-174E-494B-8138-62CC2BD92056}"/>
          </ac:spMkLst>
        </pc:spChg>
        <pc:spChg chg="mod">
          <ac:chgData name="Gracie A Chewning" userId="9de9d667-e019-4a85-82bf-b9f50f141a0d" providerId="ADAL" clId="{3D71291A-9C0C-496C-9CB9-DA43C4AD41A6}" dt="2021-01-27T23:30:20.614" v="1268" actId="20577"/>
          <ac:spMkLst>
            <pc:docMk/>
            <pc:sldMk cId="781407554" sldId="2076137396"/>
            <ac:spMk id="21" creationId="{97484700-38C9-49CC-AFE3-401E5C2E2E73}"/>
          </ac:spMkLst>
        </pc:spChg>
        <pc:spChg chg="del">
          <ac:chgData name="Gracie A Chewning" userId="9de9d667-e019-4a85-82bf-b9f50f141a0d" providerId="ADAL" clId="{3D71291A-9C0C-496C-9CB9-DA43C4AD41A6}" dt="2021-01-27T23:27:48.464" v="1229" actId="478"/>
          <ac:spMkLst>
            <pc:docMk/>
            <pc:sldMk cId="781407554" sldId="2076137396"/>
            <ac:spMk id="25" creationId="{62E2E481-4606-4BD4-8D5E-F25AB30BF51F}"/>
          </ac:spMkLst>
        </pc:spChg>
        <pc:picChg chg="del">
          <ac:chgData name="Gracie A Chewning" userId="9de9d667-e019-4a85-82bf-b9f50f141a0d" providerId="ADAL" clId="{3D71291A-9C0C-496C-9CB9-DA43C4AD41A6}" dt="2021-01-27T23:27:39.568" v="1224" actId="478"/>
          <ac:picMkLst>
            <pc:docMk/>
            <pc:sldMk cId="781407554" sldId="2076137396"/>
            <ac:picMk id="3" creationId="{8034ED25-DE14-4A2A-ADFE-2008190209A5}"/>
          </ac:picMkLst>
        </pc:picChg>
        <pc:picChg chg="add mod modCrop">
          <ac:chgData name="Gracie A Chewning" userId="9de9d667-e019-4a85-82bf-b9f50f141a0d" providerId="ADAL" clId="{3D71291A-9C0C-496C-9CB9-DA43C4AD41A6}" dt="2021-01-27T23:32:29.778" v="1305" actId="1076"/>
          <ac:picMkLst>
            <pc:docMk/>
            <pc:sldMk cId="781407554" sldId="2076137396"/>
            <ac:picMk id="13" creationId="{2FA7B60E-E54A-4A72-840E-A25414737732}"/>
          </ac:picMkLst>
        </pc:picChg>
      </pc:sldChg>
      <pc:sldChg chg="modSp add">
        <pc:chgData name="Gracie A Chewning" userId="9de9d667-e019-4a85-82bf-b9f50f141a0d" providerId="ADAL" clId="{3D71291A-9C0C-496C-9CB9-DA43C4AD41A6}" dt="2021-01-27T22:50:44.695" v="164" actId="20577"/>
        <pc:sldMkLst>
          <pc:docMk/>
          <pc:sldMk cId="3773699427" sldId="2076137397"/>
        </pc:sldMkLst>
        <pc:spChg chg="mod">
          <ac:chgData name="Gracie A Chewning" userId="9de9d667-e019-4a85-82bf-b9f50f141a0d" providerId="ADAL" clId="{3D71291A-9C0C-496C-9CB9-DA43C4AD41A6}" dt="2021-01-27T22:50:44.695" v="164" actId="20577"/>
          <ac:spMkLst>
            <pc:docMk/>
            <pc:sldMk cId="3773699427" sldId="2076137397"/>
            <ac:spMk id="8" creationId="{62CA0B21-B744-FE43-A932-81C21120730C}"/>
          </ac:spMkLst>
        </pc:spChg>
      </pc:sldChg>
      <pc:sldChg chg="modSp add">
        <pc:chgData name="Gracie A Chewning" userId="9de9d667-e019-4a85-82bf-b9f50f141a0d" providerId="ADAL" clId="{3D71291A-9C0C-496C-9CB9-DA43C4AD41A6}" dt="2021-01-27T22:48:26.520" v="142" actId="20577"/>
        <pc:sldMkLst>
          <pc:docMk/>
          <pc:sldMk cId="414200059" sldId="2076137398"/>
        </pc:sldMkLst>
        <pc:spChg chg="mod">
          <ac:chgData name="Gracie A Chewning" userId="9de9d667-e019-4a85-82bf-b9f50f141a0d" providerId="ADAL" clId="{3D71291A-9C0C-496C-9CB9-DA43C4AD41A6}" dt="2021-01-27T22:48:26.520" v="142" actId="20577"/>
          <ac:spMkLst>
            <pc:docMk/>
            <pc:sldMk cId="414200059" sldId="2076137398"/>
            <ac:spMk id="8" creationId="{62CA0B21-B744-FE43-A932-81C21120730C}"/>
          </ac:spMkLst>
        </pc:spChg>
      </pc:sldChg>
      <pc:sldChg chg="modSp add">
        <pc:chgData name="Gracie A Chewning" userId="9de9d667-e019-4a85-82bf-b9f50f141a0d" providerId="ADAL" clId="{3D71291A-9C0C-496C-9CB9-DA43C4AD41A6}" dt="2021-01-27T22:48:29.617" v="144" actId="20577"/>
        <pc:sldMkLst>
          <pc:docMk/>
          <pc:sldMk cId="2034733267" sldId="2076137399"/>
        </pc:sldMkLst>
        <pc:spChg chg="mod">
          <ac:chgData name="Gracie A Chewning" userId="9de9d667-e019-4a85-82bf-b9f50f141a0d" providerId="ADAL" clId="{3D71291A-9C0C-496C-9CB9-DA43C4AD41A6}" dt="2021-01-27T22:48:29.617" v="144" actId="20577"/>
          <ac:spMkLst>
            <pc:docMk/>
            <pc:sldMk cId="2034733267" sldId="2076137399"/>
            <ac:spMk id="8" creationId="{62CA0B21-B744-FE43-A932-81C21120730C}"/>
          </ac:spMkLst>
        </pc:spChg>
      </pc:sldChg>
      <pc:sldChg chg="modSp add">
        <pc:chgData name="Gracie A Chewning" userId="9de9d667-e019-4a85-82bf-b9f50f141a0d" providerId="ADAL" clId="{3D71291A-9C0C-496C-9CB9-DA43C4AD41A6}" dt="2021-01-27T22:48:32.990" v="146" actId="20577"/>
        <pc:sldMkLst>
          <pc:docMk/>
          <pc:sldMk cId="335893083" sldId="2076137400"/>
        </pc:sldMkLst>
        <pc:spChg chg="mod">
          <ac:chgData name="Gracie A Chewning" userId="9de9d667-e019-4a85-82bf-b9f50f141a0d" providerId="ADAL" clId="{3D71291A-9C0C-496C-9CB9-DA43C4AD41A6}" dt="2021-01-27T22:48:32.990" v="146" actId="20577"/>
          <ac:spMkLst>
            <pc:docMk/>
            <pc:sldMk cId="335893083" sldId="2076137400"/>
            <ac:spMk id="8" creationId="{62CA0B21-B744-FE43-A932-81C21120730C}"/>
          </ac:spMkLst>
        </pc:spChg>
      </pc:sldChg>
      <pc:sldChg chg="addSp delSp modSp add">
        <pc:chgData name="Gracie A Chewning" userId="9de9d667-e019-4a85-82bf-b9f50f141a0d" providerId="ADAL" clId="{3D71291A-9C0C-496C-9CB9-DA43C4AD41A6}" dt="2021-01-27T23:21:04.819" v="1102" actId="20577"/>
        <pc:sldMkLst>
          <pc:docMk/>
          <pc:sldMk cId="249564304" sldId="2076137401"/>
        </pc:sldMkLst>
        <pc:spChg chg="add mod">
          <ac:chgData name="Gracie A Chewning" userId="9de9d667-e019-4a85-82bf-b9f50f141a0d" providerId="ADAL" clId="{3D71291A-9C0C-496C-9CB9-DA43C4AD41A6}" dt="2021-01-27T23:20:31.270" v="1088" actId="1076"/>
          <ac:spMkLst>
            <pc:docMk/>
            <pc:sldMk cId="249564304" sldId="2076137401"/>
            <ac:spMk id="2" creationId="{3E51037A-0519-40F2-83AA-FA06E1FE8410}"/>
          </ac:spMkLst>
        </pc:spChg>
        <pc:spChg chg="mod">
          <ac:chgData name="Gracie A Chewning" userId="9de9d667-e019-4a85-82bf-b9f50f141a0d" providerId="ADAL" clId="{3D71291A-9C0C-496C-9CB9-DA43C4AD41A6}" dt="2021-01-27T23:12:22.860" v="960" actId="20577"/>
          <ac:spMkLst>
            <pc:docMk/>
            <pc:sldMk cId="249564304" sldId="2076137401"/>
            <ac:spMk id="14" creationId="{C8790A2E-14EC-431A-8D3D-A0C0112FFD41}"/>
          </ac:spMkLst>
        </pc:spChg>
        <pc:spChg chg="add mod">
          <ac:chgData name="Gracie A Chewning" userId="9de9d667-e019-4a85-82bf-b9f50f141a0d" providerId="ADAL" clId="{3D71291A-9C0C-496C-9CB9-DA43C4AD41A6}" dt="2021-01-27T23:03:48.673" v="661"/>
          <ac:spMkLst>
            <pc:docMk/>
            <pc:sldMk cId="249564304" sldId="2076137401"/>
            <ac:spMk id="18" creationId="{5921E684-25A7-46D3-9CCC-3FDDFD15B4D9}"/>
          </ac:spMkLst>
        </pc:spChg>
        <pc:spChg chg="add mod">
          <ac:chgData name="Gracie A Chewning" userId="9de9d667-e019-4a85-82bf-b9f50f141a0d" providerId="ADAL" clId="{3D71291A-9C0C-496C-9CB9-DA43C4AD41A6}" dt="2021-01-27T23:21:04.819" v="1102" actId="20577"/>
          <ac:spMkLst>
            <pc:docMk/>
            <pc:sldMk cId="249564304" sldId="2076137401"/>
            <ac:spMk id="19" creationId="{B9C2EB75-D002-4BF5-A791-F12A2C032CEF}"/>
          </ac:spMkLst>
        </pc:spChg>
        <pc:spChg chg="del mod">
          <ac:chgData name="Gracie A Chewning" userId="9de9d667-e019-4a85-82bf-b9f50f141a0d" providerId="ADAL" clId="{3D71291A-9C0C-496C-9CB9-DA43C4AD41A6}" dt="2021-01-27T23:00:31.106" v="359" actId="478"/>
          <ac:spMkLst>
            <pc:docMk/>
            <pc:sldMk cId="249564304" sldId="2076137401"/>
            <ac:spMk id="21" creationId="{97484700-38C9-49CC-AFE3-401E5C2E2E73}"/>
          </ac:spMkLst>
        </pc:spChg>
        <pc:spChg chg="add mod ord">
          <ac:chgData name="Gracie A Chewning" userId="9de9d667-e019-4a85-82bf-b9f50f141a0d" providerId="ADAL" clId="{3D71291A-9C0C-496C-9CB9-DA43C4AD41A6}" dt="2021-01-27T23:20:54.040" v="1093" actId="1076"/>
          <ac:spMkLst>
            <pc:docMk/>
            <pc:sldMk cId="249564304" sldId="2076137401"/>
            <ac:spMk id="22" creationId="{2D5F7788-3F1E-400D-9511-3233EE09CB23}"/>
          </ac:spMkLst>
        </pc:spChg>
        <pc:spChg chg="del">
          <ac:chgData name="Gracie A Chewning" userId="9de9d667-e019-4a85-82bf-b9f50f141a0d" providerId="ADAL" clId="{3D71291A-9C0C-496C-9CB9-DA43C4AD41A6}" dt="2021-01-27T22:59:00.385" v="321" actId="478"/>
          <ac:spMkLst>
            <pc:docMk/>
            <pc:sldMk cId="249564304" sldId="2076137401"/>
            <ac:spMk id="25" creationId="{62E2E481-4606-4BD4-8D5E-F25AB30BF51F}"/>
          </ac:spMkLst>
        </pc:spChg>
        <pc:picChg chg="del">
          <ac:chgData name="Gracie A Chewning" userId="9de9d667-e019-4a85-82bf-b9f50f141a0d" providerId="ADAL" clId="{3D71291A-9C0C-496C-9CB9-DA43C4AD41A6}" dt="2021-01-27T22:59:00.385" v="321" actId="478"/>
          <ac:picMkLst>
            <pc:docMk/>
            <pc:sldMk cId="249564304" sldId="2076137401"/>
            <ac:picMk id="13" creationId="{DECCCDA6-4369-4FAC-91DD-7D3779F87FF0}"/>
          </ac:picMkLst>
        </pc:picChg>
        <pc:picChg chg="del">
          <ac:chgData name="Gracie A Chewning" userId="9de9d667-e019-4a85-82bf-b9f50f141a0d" providerId="ADAL" clId="{3D71291A-9C0C-496C-9CB9-DA43C4AD41A6}" dt="2021-01-27T22:59:00.385" v="321" actId="478"/>
          <ac:picMkLst>
            <pc:docMk/>
            <pc:sldMk cId="249564304" sldId="2076137401"/>
            <ac:picMk id="15" creationId="{5EEBE7B4-C47A-4F7D-8AA1-DB0B0416D401}"/>
          </ac:picMkLst>
        </pc:picChg>
        <pc:picChg chg="add mod modCrop">
          <ac:chgData name="Gracie A Chewning" userId="9de9d667-e019-4a85-82bf-b9f50f141a0d" providerId="ADAL" clId="{3D71291A-9C0C-496C-9CB9-DA43C4AD41A6}" dt="2021-01-27T23:20:54.040" v="1093" actId="1076"/>
          <ac:picMkLst>
            <pc:docMk/>
            <pc:sldMk cId="249564304" sldId="2076137401"/>
            <ac:picMk id="16" creationId="{6123C9B8-F826-45DC-B0C5-A6B024ABC715}"/>
          </ac:picMkLst>
        </pc:picChg>
        <pc:picChg chg="add mod">
          <ac:chgData name="Gracie A Chewning" userId="9de9d667-e019-4a85-82bf-b9f50f141a0d" providerId="ADAL" clId="{3D71291A-9C0C-496C-9CB9-DA43C4AD41A6}" dt="2021-01-27T23:20:54.040" v="1093" actId="1076"/>
          <ac:picMkLst>
            <pc:docMk/>
            <pc:sldMk cId="249564304" sldId="2076137401"/>
            <ac:picMk id="20" creationId="{E4D21730-0051-4F3C-819C-8B6D49FE3493}"/>
          </ac:picMkLst>
        </pc:picChg>
        <pc:cxnChg chg="del">
          <ac:chgData name="Gracie A Chewning" userId="9de9d667-e019-4a85-82bf-b9f50f141a0d" providerId="ADAL" clId="{3D71291A-9C0C-496C-9CB9-DA43C4AD41A6}" dt="2021-01-27T22:59:00.385" v="321" actId="478"/>
          <ac:cxnSpMkLst>
            <pc:docMk/>
            <pc:sldMk cId="249564304" sldId="2076137401"/>
            <ac:cxnSpMk id="17" creationId="{EB5072FD-97A0-4476-9807-69A0004272CC}"/>
          </ac:cxnSpMkLst>
        </pc:cxnChg>
        <pc:cxnChg chg="add mod">
          <ac:chgData name="Gracie A Chewning" userId="9de9d667-e019-4a85-82bf-b9f50f141a0d" providerId="ADAL" clId="{3D71291A-9C0C-496C-9CB9-DA43C4AD41A6}" dt="2021-01-27T23:20:54.040" v="1093" actId="1076"/>
          <ac:cxnSpMkLst>
            <pc:docMk/>
            <pc:sldMk cId="249564304" sldId="2076137401"/>
            <ac:cxnSpMk id="23" creationId="{87821FB3-D15F-4425-B995-190F0ADACE4A}"/>
          </ac:cxnSpMkLst>
        </pc:cxnChg>
      </pc:sldChg>
      <pc:sldChg chg="add del">
        <pc:chgData name="Gracie A Chewning" userId="9de9d667-e019-4a85-82bf-b9f50f141a0d" providerId="ADAL" clId="{3D71291A-9C0C-496C-9CB9-DA43C4AD41A6}" dt="2021-01-27T23:11:51.053" v="948"/>
        <pc:sldMkLst>
          <pc:docMk/>
          <pc:sldMk cId="2371071694" sldId="2076137402"/>
        </pc:sldMkLst>
      </pc:sldChg>
      <pc:sldChg chg="addSp delSp modSp add addCm modCm">
        <pc:chgData name="Gracie A Chewning" userId="9de9d667-e019-4a85-82bf-b9f50f141a0d" providerId="ADAL" clId="{3D71291A-9C0C-496C-9CB9-DA43C4AD41A6}" dt="2021-01-28T00:28:54.682" v="1600"/>
        <pc:sldMkLst>
          <pc:docMk/>
          <pc:sldMk cId="2731429917" sldId="2076137402"/>
        </pc:sldMkLst>
        <pc:spChg chg="mod">
          <ac:chgData name="Gracie A Chewning" userId="9de9d667-e019-4a85-82bf-b9f50f141a0d" providerId="ADAL" clId="{3D71291A-9C0C-496C-9CB9-DA43C4AD41A6}" dt="2021-01-27T23:18:10.722" v="1064" actId="1076"/>
          <ac:spMkLst>
            <pc:docMk/>
            <pc:sldMk cId="2731429917" sldId="2076137402"/>
            <ac:spMk id="2" creationId="{3E51037A-0519-40F2-83AA-FA06E1FE8410}"/>
          </ac:spMkLst>
        </pc:spChg>
        <pc:spChg chg="mod">
          <ac:chgData name="Gracie A Chewning" userId="9de9d667-e019-4a85-82bf-b9f50f141a0d" providerId="ADAL" clId="{3D71291A-9C0C-496C-9CB9-DA43C4AD41A6}" dt="2021-01-27T23:25:12.525" v="1179" actId="20577"/>
          <ac:spMkLst>
            <pc:docMk/>
            <pc:sldMk cId="2731429917" sldId="2076137402"/>
            <ac:spMk id="18" creationId="{5921E684-25A7-46D3-9CCC-3FDDFD15B4D9}"/>
          </ac:spMkLst>
        </pc:spChg>
        <pc:spChg chg="mod">
          <ac:chgData name="Gracie A Chewning" userId="9de9d667-e019-4a85-82bf-b9f50f141a0d" providerId="ADAL" clId="{3D71291A-9C0C-496C-9CB9-DA43C4AD41A6}" dt="2021-01-27T23:24:31.219" v="1163" actId="115"/>
          <ac:spMkLst>
            <pc:docMk/>
            <pc:sldMk cId="2731429917" sldId="2076137402"/>
            <ac:spMk id="19" creationId="{B9C2EB75-D002-4BF5-A791-F12A2C032CEF}"/>
          </ac:spMkLst>
        </pc:spChg>
        <pc:spChg chg="mod ord">
          <ac:chgData name="Gracie A Chewning" userId="9de9d667-e019-4a85-82bf-b9f50f141a0d" providerId="ADAL" clId="{3D71291A-9C0C-496C-9CB9-DA43C4AD41A6}" dt="2021-01-27T23:17:42.018" v="1056" actId="1076"/>
          <ac:spMkLst>
            <pc:docMk/>
            <pc:sldMk cId="2731429917" sldId="2076137402"/>
            <ac:spMk id="22" creationId="{2D5F7788-3F1E-400D-9511-3233EE09CB23}"/>
          </ac:spMkLst>
        </pc:spChg>
        <pc:picChg chg="add mod modCrop">
          <ac:chgData name="Gracie A Chewning" userId="9de9d667-e019-4a85-82bf-b9f50f141a0d" providerId="ADAL" clId="{3D71291A-9C0C-496C-9CB9-DA43C4AD41A6}" dt="2021-01-27T23:17:36.367" v="1055" actId="1076"/>
          <ac:picMkLst>
            <pc:docMk/>
            <pc:sldMk cId="2731429917" sldId="2076137402"/>
            <ac:picMk id="15" creationId="{B9F677FA-A038-4329-A969-1776A1BC410E}"/>
          </ac:picMkLst>
        </pc:picChg>
        <pc:picChg chg="del">
          <ac:chgData name="Gracie A Chewning" userId="9de9d667-e019-4a85-82bf-b9f50f141a0d" providerId="ADAL" clId="{3D71291A-9C0C-496C-9CB9-DA43C4AD41A6}" dt="2021-01-27T23:15:59.596" v="1033" actId="478"/>
          <ac:picMkLst>
            <pc:docMk/>
            <pc:sldMk cId="2731429917" sldId="2076137402"/>
            <ac:picMk id="16" creationId="{6123C9B8-F826-45DC-B0C5-A6B024ABC715}"/>
          </ac:picMkLst>
        </pc:picChg>
        <pc:picChg chg="add mod">
          <ac:chgData name="Gracie A Chewning" userId="9de9d667-e019-4a85-82bf-b9f50f141a0d" providerId="ADAL" clId="{3D71291A-9C0C-496C-9CB9-DA43C4AD41A6}" dt="2021-01-27T23:17:15.623" v="1049" actId="14100"/>
          <ac:picMkLst>
            <pc:docMk/>
            <pc:sldMk cId="2731429917" sldId="2076137402"/>
            <ac:picMk id="17" creationId="{48C9944F-C877-433D-913F-48B38F673EBD}"/>
          </ac:picMkLst>
        </pc:picChg>
        <pc:picChg chg="del">
          <ac:chgData name="Gracie A Chewning" userId="9de9d667-e019-4a85-82bf-b9f50f141a0d" providerId="ADAL" clId="{3D71291A-9C0C-496C-9CB9-DA43C4AD41A6}" dt="2021-01-27T23:16:19.050" v="1038" actId="478"/>
          <ac:picMkLst>
            <pc:docMk/>
            <pc:sldMk cId="2731429917" sldId="2076137402"/>
            <ac:picMk id="20" creationId="{E4D21730-0051-4F3C-819C-8B6D49FE3493}"/>
          </ac:picMkLst>
        </pc:picChg>
        <pc:cxnChg chg="mod ord">
          <ac:chgData name="Gracie A Chewning" userId="9de9d667-e019-4a85-82bf-b9f50f141a0d" providerId="ADAL" clId="{3D71291A-9C0C-496C-9CB9-DA43C4AD41A6}" dt="2021-01-27T23:17:53.135" v="1062" actId="1035"/>
          <ac:cxnSpMkLst>
            <pc:docMk/>
            <pc:sldMk cId="2731429917" sldId="2076137402"/>
            <ac:cxnSpMk id="23" creationId="{87821FB3-D15F-4425-B995-190F0ADACE4A}"/>
          </ac:cxnSpMkLst>
        </pc:cxnChg>
      </pc:sldChg>
    </pc:docChg>
  </pc:docChgLst>
  <pc:docChgLst>
    <pc:chgData name="Soraya G Sotudeh" userId="76c2cecb-13a5-4101-b93f-0776f653e718" providerId="ADAL" clId="{112DA1C6-005A-4B9E-97E9-BC60E9D661E5}"/>
    <pc:docChg chg="delSld modSld">
      <pc:chgData name="Soraya G Sotudeh" userId="76c2cecb-13a5-4101-b93f-0776f653e718" providerId="ADAL" clId="{112DA1C6-005A-4B9E-97E9-BC60E9D661E5}" dt="2021-01-28T16:45:25.939" v="58" actId="20577"/>
      <pc:docMkLst>
        <pc:docMk/>
      </pc:docMkLst>
      <pc:sldChg chg="modSp">
        <pc:chgData name="Soraya G Sotudeh" userId="76c2cecb-13a5-4101-b93f-0776f653e718" providerId="ADAL" clId="{112DA1C6-005A-4B9E-97E9-BC60E9D661E5}" dt="2021-01-28T16:45:25.939" v="58" actId="20577"/>
        <pc:sldMkLst>
          <pc:docMk/>
          <pc:sldMk cId="3123279992" sldId="9070"/>
        </pc:sldMkLst>
        <pc:graphicFrameChg chg="modGraphic">
          <ac:chgData name="Soraya G Sotudeh" userId="76c2cecb-13a5-4101-b93f-0776f653e718" providerId="ADAL" clId="{112DA1C6-005A-4B9E-97E9-BC60E9D661E5}" dt="2021-01-28T16:45:25.939" v="58" actId="20577"/>
          <ac:graphicFrameMkLst>
            <pc:docMk/>
            <pc:sldMk cId="3123279992" sldId="9070"/>
            <ac:graphicFrameMk id="6" creationId="{78B1BD31-3AF9-4B81-93FC-7241460106EA}"/>
          </ac:graphicFrameMkLst>
        </pc:graphicFrameChg>
      </pc:sldChg>
      <pc:sldChg chg="modSp">
        <pc:chgData name="Soraya G Sotudeh" userId="76c2cecb-13a5-4101-b93f-0776f653e718" providerId="ADAL" clId="{112DA1C6-005A-4B9E-97E9-BC60E9D661E5}" dt="2021-01-28T16:35:41.696" v="13" actId="20577"/>
        <pc:sldMkLst>
          <pc:docMk/>
          <pc:sldMk cId="2991782893" sldId="9075"/>
        </pc:sldMkLst>
        <pc:spChg chg="mod">
          <ac:chgData name="Soraya G Sotudeh" userId="76c2cecb-13a5-4101-b93f-0776f653e718" providerId="ADAL" clId="{112DA1C6-005A-4B9E-97E9-BC60E9D661E5}" dt="2021-01-28T16:35:41.696" v="13" actId="20577"/>
          <ac:spMkLst>
            <pc:docMk/>
            <pc:sldMk cId="2991782893" sldId="9075"/>
            <ac:spMk id="6" creationId="{E841121C-0B87-45EF-9992-D117D47969D7}"/>
          </ac:spMkLst>
        </pc:spChg>
      </pc:sldChg>
      <pc:sldChg chg="del">
        <pc:chgData name="Soraya G Sotudeh" userId="76c2cecb-13a5-4101-b93f-0776f653e718" providerId="ADAL" clId="{112DA1C6-005A-4B9E-97E9-BC60E9D661E5}" dt="2021-01-28T16:35:23.278" v="0" actId="2696"/>
        <pc:sldMkLst>
          <pc:docMk/>
          <pc:sldMk cId="2793015335" sldId="2076137386"/>
        </pc:sldMkLst>
      </pc:sldChg>
    </pc:docChg>
  </pc:docChgLst>
  <pc:docChgLst>
    <pc:chgData clId="Web-{F17C78AD-07CE-4E33-823B-A7313BB8935F}"/>
    <pc:docChg chg="modSld">
      <pc:chgData name="" userId="" providerId="" clId="Web-{F17C78AD-07CE-4E33-823B-A7313BB8935F}" dt="2021-01-28T20:57:36.680" v="1"/>
      <pc:docMkLst>
        <pc:docMk/>
      </pc:docMkLst>
      <pc:sldChg chg="modSp">
        <pc:chgData name="" userId="" providerId="" clId="Web-{F17C78AD-07CE-4E33-823B-A7313BB8935F}" dt="2021-01-28T20:57:36.680" v="1"/>
        <pc:sldMkLst>
          <pc:docMk/>
          <pc:sldMk cId="3123279992" sldId="9070"/>
        </pc:sldMkLst>
        <pc:graphicFrameChg chg="modGraphic">
          <ac:chgData name="" userId="" providerId="" clId="Web-{F17C78AD-07CE-4E33-823B-A7313BB8935F}" dt="2021-01-28T20:57:36.680" v="1"/>
          <ac:graphicFrameMkLst>
            <pc:docMk/>
            <pc:sldMk cId="3123279992" sldId="9070"/>
            <ac:graphicFrameMk id="6" creationId="{78B1BD31-3AF9-4B81-93FC-7241460106EA}"/>
          </ac:graphicFrameMkLst>
        </pc:graphicFrameChg>
      </pc:sldChg>
    </pc:docChg>
  </pc:docChgLst>
  <pc:docChgLst>
    <pc:chgData name="Gracie A Chewning" userId="9de9d667-e019-4a85-82bf-b9f50f141a0d" providerId="ADAL" clId="{AC87F8F7-FE5A-4872-AA3A-59C9191CA8B7}"/>
    <pc:docChg chg="custSel modSld">
      <pc:chgData name="Gracie A Chewning" userId="9de9d667-e019-4a85-82bf-b9f50f141a0d" providerId="ADAL" clId="{AC87F8F7-FE5A-4872-AA3A-59C9191CA8B7}" dt="2021-01-28T14:07:21.901" v="879" actId="1076"/>
      <pc:docMkLst>
        <pc:docMk/>
      </pc:docMkLst>
      <pc:sldChg chg="modSp">
        <pc:chgData name="Gracie A Chewning" userId="9de9d667-e019-4a85-82bf-b9f50f141a0d" providerId="ADAL" clId="{AC87F8F7-FE5A-4872-AA3A-59C9191CA8B7}" dt="2021-01-28T14:05:39.980" v="722" actId="20577"/>
        <pc:sldMkLst>
          <pc:docMk/>
          <pc:sldMk cId="3119417520" sldId="9026"/>
        </pc:sldMkLst>
        <pc:spChg chg="mod">
          <ac:chgData name="Gracie A Chewning" userId="9de9d667-e019-4a85-82bf-b9f50f141a0d" providerId="ADAL" clId="{AC87F8F7-FE5A-4872-AA3A-59C9191CA8B7}" dt="2021-01-28T13:59:04.949" v="174" actId="20577"/>
          <ac:spMkLst>
            <pc:docMk/>
            <pc:sldMk cId="3119417520" sldId="9026"/>
            <ac:spMk id="111" creationId="{42F95F95-EFE2-4B67-B4E1-A7D281B2179C}"/>
          </ac:spMkLst>
        </pc:spChg>
        <pc:spChg chg="mod">
          <ac:chgData name="Gracie A Chewning" userId="9de9d667-e019-4a85-82bf-b9f50f141a0d" providerId="ADAL" clId="{AC87F8F7-FE5A-4872-AA3A-59C9191CA8B7}" dt="2021-01-28T14:00:01.624" v="324" actId="20577"/>
          <ac:spMkLst>
            <pc:docMk/>
            <pc:sldMk cId="3119417520" sldId="9026"/>
            <ac:spMk id="123" creationId="{01016452-DFF5-49DD-8809-5155B0959C35}"/>
          </ac:spMkLst>
        </pc:spChg>
        <pc:spChg chg="mod">
          <ac:chgData name="Gracie A Chewning" userId="9de9d667-e019-4a85-82bf-b9f50f141a0d" providerId="ADAL" clId="{AC87F8F7-FE5A-4872-AA3A-59C9191CA8B7}" dt="2021-01-28T14:00:21.141" v="347" actId="20577"/>
          <ac:spMkLst>
            <pc:docMk/>
            <pc:sldMk cId="3119417520" sldId="9026"/>
            <ac:spMk id="125" creationId="{2296636B-20F6-4D0D-8B9D-D398FF1A31E8}"/>
          </ac:spMkLst>
        </pc:spChg>
        <pc:spChg chg="mod">
          <ac:chgData name="Gracie A Chewning" userId="9de9d667-e019-4a85-82bf-b9f50f141a0d" providerId="ADAL" clId="{AC87F8F7-FE5A-4872-AA3A-59C9191CA8B7}" dt="2021-01-28T14:03:24.566" v="482" actId="20577"/>
          <ac:spMkLst>
            <pc:docMk/>
            <pc:sldMk cId="3119417520" sldId="9026"/>
            <ac:spMk id="127" creationId="{78043F49-EA84-4411-B967-7E63151FE422}"/>
          </ac:spMkLst>
        </pc:spChg>
        <pc:spChg chg="mod">
          <ac:chgData name="Gracie A Chewning" userId="9de9d667-e019-4a85-82bf-b9f50f141a0d" providerId="ADAL" clId="{AC87F8F7-FE5A-4872-AA3A-59C9191CA8B7}" dt="2021-01-28T14:03:29.499" v="486" actId="20577"/>
          <ac:spMkLst>
            <pc:docMk/>
            <pc:sldMk cId="3119417520" sldId="9026"/>
            <ac:spMk id="128" creationId="{6F16EBD6-6C97-4B1F-9F32-59588F590D7C}"/>
          </ac:spMkLst>
        </pc:spChg>
        <pc:spChg chg="mod">
          <ac:chgData name="Gracie A Chewning" userId="9de9d667-e019-4a85-82bf-b9f50f141a0d" providerId="ADAL" clId="{AC87F8F7-FE5A-4872-AA3A-59C9191CA8B7}" dt="2021-01-28T14:01:01.175" v="461" actId="20577"/>
          <ac:spMkLst>
            <pc:docMk/>
            <pc:sldMk cId="3119417520" sldId="9026"/>
            <ac:spMk id="136" creationId="{C43569DC-468C-494C-91E0-30003EB3706A}"/>
          </ac:spMkLst>
        </pc:spChg>
        <pc:spChg chg="mod">
          <ac:chgData name="Gracie A Chewning" userId="9de9d667-e019-4a85-82bf-b9f50f141a0d" providerId="ADAL" clId="{AC87F8F7-FE5A-4872-AA3A-59C9191CA8B7}" dt="2021-01-28T14:03:41.538" v="524" actId="20577"/>
          <ac:spMkLst>
            <pc:docMk/>
            <pc:sldMk cId="3119417520" sldId="9026"/>
            <ac:spMk id="139" creationId="{47816195-2E92-4820-B46C-E11B33F9B72D}"/>
          </ac:spMkLst>
        </pc:spChg>
        <pc:spChg chg="mod">
          <ac:chgData name="Gracie A Chewning" userId="9de9d667-e019-4a85-82bf-b9f50f141a0d" providerId="ADAL" clId="{AC87F8F7-FE5A-4872-AA3A-59C9191CA8B7}" dt="2021-01-28T14:05:39.980" v="722" actId="20577"/>
          <ac:spMkLst>
            <pc:docMk/>
            <pc:sldMk cId="3119417520" sldId="9026"/>
            <ac:spMk id="142" creationId="{5F7B6FE6-0610-4289-B121-88E38F3563FD}"/>
          </ac:spMkLst>
        </pc:spChg>
        <pc:grpChg chg="mod">
          <ac:chgData name="Gracie A Chewning" userId="9de9d667-e019-4a85-82bf-b9f50f141a0d" providerId="ADAL" clId="{AC87F8F7-FE5A-4872-AA3A-59C9191CA8B7}" dt="2021-01-28T14:04:43.517" v="664"/>
          <ac:grpSpMkLst>
            <pc:docMk/>
            <pc:sldMk cId="3119417520" sldId="9026"/>
            <ac:grpSpMk id="140" creationId="{B8E36F94-001A-48BB-ADA8-41759A388BD0}"/>
          </ac:grpSpMkLst>
        </pc:grpChg>
      </pc:sldChg>
      <pc:sldChg chg="delSp">
        <pc:chgData name="Gracie A Chewning" userId="9de9d667-e019-4a85-82bf-b9f50f141a0d" providerId="ADAL" clId="{AC87F8F7-FE5A-4872-AA3A-59C9191CA8B7}" dt="2021-01-28T14:01:19.342" v="462" actId="478"/>
        <pc:sldMkLst>
          <pc:docMk/>
          <pc:sldMk cId="1447221636" sldId="9079"/>
        </pc:sldMkLst>
        <pc:spChg chg="del">
          <ac:chgData name="Gracie A Chewning" userId="9de9d667-e019-4a85-82bf-b9f50f141a0d" providerId="ADAL" clId="{AC87F8F7-FE5A-4872-AA3A-59C9191CA8B7}" dt="2021-01-28T14:01:19.342" v="462" actId="478"/>
          <ac:spMkLst>
            <pc:docMk/>
            <pc:sldMk cId="1447221636" sldId="9079"/>
            <ac:spMk id="16" creationId="{F82660D4-174E-494B-8138-62CC2BD92056}"/>
          </ac:spMkLst>
        </pc:spChg>
      </pc:sldChg>
      <pc:sldChg chg="addSp delSp modSp">
        <pc:chgData name="Gracie A Chewning" userId="9de9d667-e019-4a85-82bf-b9f50f141a0d" providerId="ADAL" clId="{AC87F8F7-FE5A-4872-AA3A-59C9191CA8B7}" dt="2021-01-28T14:07:21.901" v="879" actId="1076"/>
        <pc:sldMkLst>
          <pc:docMk/>
          <pc:sldMk cId="1789405769" sldId="2076137379"/>
        </pc:sldMkLst>
        <pc:spChg chg="mod">
          <ac:chgData name="Gracie A Chewning" userId="9de9d667-e019-4a85-82bf-b9f50f141a0d" providerId="ADAL" clId="{AC87F8F7-FE5A-4872-AA3A-59C9191CA8B7}" dt="2021-01-28T13:57:39.095" v="164" actId="20577"/>
          <ac:spMkLst>
            <pc:docMk/>
            <pc:sldMk cId="1789405769" sldId="2076137379"/>
            <ac:spMk id="2" creationId="{6BEA930D-A79D-48B7-8C36-233F22E7D2AC}"/>
          </ac:spMkLst>
        </pc:spChg>
        <pc:spChg chg="mod">
          <ac:chgData name="Gracie A Chewning" userId="9de9d667-e019-4a85-82bf-b9f50f141a0d" providerId="ADAL" clId="{AC87F8F7-FE5A-4872-AA3A-59C9191CA8B7}" dt="2021-01-28T14:06:52.337" v="876" actId="20577"/>
          <ac:spMkLst>
            <pc:docMk/>
            <pc:sldMk cId="1789405769" sldId="2076137379"/>
            <ac:spMk id="21" creationId="{3D133CF7-6C25-43DE-8B16-7A07A82B1BDD}"/>
          </ac:spMkLst>
        </pc:spChg>
        <pc:spChg chg="add mod">
          <ac:chgData name="Gracie A Chewning" userId="9de9d667-e019-4a85-82bf-b9f50f141a0d" providerId="ADAL" clId="{AC87F8F7-FE5A-4872-AA3A-59C9191CA8B7}" dt="2021-01-28T14:07:21.901" v="879" actId="1076"/>
          <ac:spMkLst>
            <pc:docMk/>
            <pc:sldMk cId="1789405769" sldId="2076137379"/>
            <ac:spMk id="22" creationId="{06802F2B-D755-4FC5-A2E7-96CB85F2367A}"/>
          </ac:spMkLst>
        </pc:spChg>
        <pc:spChg chg="del">
          <ac:chgData name="Gracie A Chewning" userId="9de9d667-e019-4a85-82bf-b9f50f141a0d" providerId="ADAL" clId="{AC87F8F7-FE5A-4872-AA3A-59C9191CA8B7}" dt="2021-01-28T14:06:59.451" v="877" actId="478"/>
          <ac:spMkLst>
            <pc:docMk/>
            <pc:sldMk cId="1789405769" sldId="2076137379"/>
            <ac:spMk id="121" creationId="{4FAF0BC6-15DB-4921-B81D-9E5B2D8B98E1}"/>
          </ac:spMkLst>
        </pc:spChg>
      </pc:sldChg>
      <pc:sldChg chg="addSp delSp modSp">
        <pc:chgData name="Gracie A Chewning" userId="9de9d667-e019-4a85-82bf-b9f50f141a0d" providerId="ADAL" clId="{AC87F8F7-FE5A-4872-AA3A-59C9191CA8B7}" dt="2021-01-28T14:02:23.452" v="472" actId="14100"/>
        <pc:sldMkLst>
          <pc:docMk/>
          <pc:sldMk cId="1067674525" sldId="2076137394"/>
        </pc:sldMkLst>
        <pc:spChg chg="add mod">
          <ac:chgData name="Gracie A Chewning" userId="9de9d667-e019-4a85-82bf-b9f50f141a0d" providerId="ADAL" clId="{AC87F8F7-FE5A-4872-AA3A-59C9191CA8B7}" dt="2021-01-28T14:02:23.452" v="472" actId="14100"/>
          <ac:spMkLst>
            <pc:docMk/>
            <pc:sldMk cId="1067674525" sldId="2076137394"/>
            <ac:spMk id="16" creationId="{3042B82B-08E0-4DC4-A985-F2B525C8E8E1}"/>
          </ac:spMkLst>
        </pc:spChg>
        <pc:spChg chg="del">
          <ac:chgData name="Gracie A Chewning" userId="9de9d667-e019-4a85-82bf-b9f50f141a0d" providerId="ADAL" clId="{AC87F8F7-FE5A-4872-AA3A-59C9191CA8B7}" dt="2021-01-28T14:01:48.246" v="465" actId="478"/>
          <ac:spMkLst>
            <pc:docMk/>
            <pc:sldMk cId="1067674525" sldId="2076137394"/>
            <ac:spMk id="25" creationId="{62E2E481-4606-4BD4-8D5E-F25AB30BF51F}"/>
          </ac:spMkLst>
        </pc:spChg>
        <pc:picChg chg="del mod">
          <ac:chgData name="Gracie A Chewning" userId="9de9d667-e019-4a85-82bf-b9f50f141a0d" providerId="ADAL" clId="{AC87F8F7-FE5A-4872-AA3A-59C9191CA8B7}" dt="2021-01-28T14:01:46.374" v="464" actId="478"/>
          <ac:picMkLst>
            <pc:docMk/>
            <pc:sldMk cId="1067674525" sldId="2076137394"/>
            <ac:picMk id="13" creationId="{DECCCDA6-4369-4FAC-91DD-7D3779F87FF0}"/>
          </ac:picMkLst>
        </pc:picChg>
        <pc:picChg chg="mod">
          <ac:chgData name="Gracie A Chewning" userId="9de9d667-e019-4a85-82bf-b9f50f141a0d" providerId="ADAL" clId="{AC87F8F7-FE5A-4872-AA3A-59C9191CA8B7}" dt="2021-01-28T14:01:59.600" v="469" actId="1076"/>
          <ac:picMkLst>
            <pc:docMk/>
            <pc:sldMk cId="1067674525" sldId="2076137394"/>
            <ac:picMk id="15" creationId="{5EEBE7B4-C47A-4F7D-8AA1-DB0B0416D401}"/>
          </ac:picMkLst>
        </pc:picChg>
        <pc:cxnChg chg="del">
          <ac:chgData name="Gracie A Chewning" userId="9de9d667-e019-4a85-82bf-b9f50f141a0d" providerId="ADAL" clId="{AC87F8F7-FE5A-4872-AA3A-59C9191CA8B7}" dt="2021-01-28T14:01:50.633" v="466" actId="478"/>
          <ac:cxnSpMkLst>
            <pc:docMk/>
            <pc:sldMk cId="1067674525" sldId="2076137394"/>
            <ac:cxnSpMk id="17" creationId="{EB5072FD-97A0-4476-9807-69A0004272CC}"/>
          </ac:cxnSpMkLst>
        </pc:cxn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A29E03E-6BF3-49DE-A897-33EAC14D0386}" type="datetimeFigureOut">
              <a:rPr lang="en-US" smtClean="0"/>
              <a:t>2/1/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21DE9A1-F6D9-43E9-936A-8A0AF75E7208}" type="slidenum">
              <a:rPr lang="en-US" smtClean="0"/>
              <a:t>‹#›</a:t>
            </a:fld>
            <a:endParaRPr lang="en-US"/>
          </a:p>
        </p:txBody>
      </p:sp>
    </p:spTree>
    <p:extLst>
      <p:ext uri="{BB962C8B-B14F-4D97-AF65-F5344CB8AC3E}">
        <p14:creationId xmlns:p14="http://schemas.microsoft.com/office/powerpoint/2010/main" val="38156944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12638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a:p>
          <a:p>
            <a:pPr>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94697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a:p>
          <a:p>
            <a:pPr>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21843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a:p>
          <a:p>
            <a:pPr>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20810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26970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82665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72111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99322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37616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88193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73227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37222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79707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06365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41814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02597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643145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94395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0512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28425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39387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25080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18572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2145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a:p>
          <a:p>
            <a:pPr>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66552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a:p>
          <a:p>
            <a:pPr>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67984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slideMaster" Target="../slideMasters/slideMaster2.xml"/><Relationship Id="rId7" Type="http://schemas.microsoft.com/office/2007/relationships/hdphoto" Target="../media/hdphoto1.wdp"/><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slideMaster" Target="../slideMasters/slideMaster2.xml"/><Relationship Id="rId7" Type="http://schemas.microsoft.com/office/2007/relationships/hdphoto" Target="../media/hdphoto1.wdp"/><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2A3E59-3699-4B85-B7C8-E774C985A30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625AC1A-7845-4B41-8A3B-10FDC49015F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10EE388-8272-493D-BCA9-923D9D97061D}"/>
              </a:ext>
            </a:extLst>
          </p:cNvPr>
          <p:cNvSpPr>
            <a:spLocks noGrp="1"/>
          </p:cNvSpPr>
          <p:nvPr>
            <p:ph type="dt" sz="half" idx="10"/>
          </p:nvPr>
        </p:nvSpPr>
        <p:spPr/>
        <p:txBody>
          <a:bodyPr/>
          <a:lstStyle/>
          <a:p>
            <a:fld id="{82B8FF39-08A2-40A3-894E-8A1D692AB169}" type="datetimeFigureOut">
              <a:rPr lang="en-US" smtClean="0"/>
              <a:t>2/1/2021</a:t>
            </a:fld>
            <a:endParaRPr lang="en-US"/>
          </a:p>
        </p:txBody>
      </p:sp>
      <p:sp>
        <p:nvSpPr>
          <p:cNvPr id="5" name="Footer Placeholder 4">
            <a:extLst>
              <a:ext uri="{FF2B5EF4-FFF2-40B4-BE49-F238E27FC236}">
                <a16:creationId xmlns:a16="http://schemas.microsoft.com/office/drawing/2014/main" id="{CE2CEDF9-E867-46AD-9C2D-A035DD4F39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07D67F4-BB4A-4A7F-B83B-399E85252C5A}"/>
              </a:ext>
            </a:extLst>
          </p:cNvPr>
          <p:cNvSpPr>
            <a:spLocks noGrp="1"/>
          </p:cNvSpPr>
          <p:nvPr>
            <p:ph type="sldNum" sz="quarter" idx="12"/>
          </p:nvPr>
        </p:nvSpPr>
        <p:spPr/>
        <p:txBody>
          <a:bodyPr/>
          <a:lstStyle/>
          <a:p>
            <a:fld id="{70ACE8E8-32F1-407B-9631-B42BD3CB494A}" type="slidenum">
              <a:rPr lang="en-US" smtClean="0"/>
              <a:t>‹#›</a:t>
            </a:fld>
            <a:endParaRPr lang="en-US"/>
          </a:p>
        </p:txBody>
      </p:sp>
    </p:spTree>
    <p:extLst>
      <p:ext uri="{BB962C8B-B14F-4D97-AF65-F5344CB8AC3E}">
        <p14:creationId xmlns:p14="http://schemas.microsoft.com/office/powerpoint/2010/main" val="5778910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8D6F87-FF60-47E4-95C5-8A9BA17749B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EA286E0-E088-43BC-9935-F17DD1AD679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D13767C-2651-415E-8FE8-6D4198185217}"/>
              </a:ext>
            </a:extLst>
          </p:cNvPr>
          <p:cNvSpPr>
            <a:spLocks noGrp="1"/>
          </p:cNvSpPr>
          <p:nvPr>
            <p:ph type="dt" sz="half" idx="10"/>
          </p:nvPr>
        </p:nvSpPr>
        <p:spPr/>
        <p:txBody>
          <a:bodyPr/>
          <a:lstStyle/>
          <a:p>
            <a:fld id="{82B8FF39-08A2-40A3-894E-8A1D692AB169}" type="datetimeFigureOut">
              <a:rPr lang="en-US" smtClean="0"/>
              <a:t>2/1/2021</a:t>
            </a:fld>
            <a:endParaRPr lang="en-US"/>
          </a:p>
        </p:txBody>
      </p:sp>
      <p:sp>
        <p:nvSpPr>
          <p:cNvPr id="5" name="Footer Placeholder 4">
            <a:extLst>
              <a:ext uri="{FF2B5EF4-FFF2-40B4-BE49-F238E27FC236}">
                <a16:creationId xmlns:a16="http://schemas.microsoft.com/office/drawing/2014/main" id="{E45B759C-AAB5-4D51-BD4D-FF5DB17E9B2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723327-D424-4510-ACC2-E3B66F6E4FDB}"/>
              </a:ext>
            </a:extLst>
          </p:cNvPr>
          <p:cNvSpPr>
            <a:spLocks noGrp="1"/>
          </p:cNvSpPr>
          <p:nvPr>
            <p:ph type="sldNum" sz="quarter" idx="12"/>
          </p:nvPr>
        </p:nvSpPr>
        <p:spPr/>
        <p:txBody>
          <a:bodyPr/>
          <a:lstStyle/>
          <a:p>
            <a:fld id="{70ACE8E8-32F1-407B-9631-B42BD3CB494A}" type="slidenum">
              <a:rPr lang="en-US" smtClean="0"/>
              <a:t>‹#›</a:t>
            </a:fld>
            <a:endParaRPr lang="en-US"/>
          </a:p>
        </p:txBody>
      </p:sp>
    </p:spTree>
    <p:extLst>
      <p:ext uri="{BB962C8B-B14F-4D97-AF65-F5344CB8AC3E}">
        <p14:creationId xmlns:p14="http://schemas.microsoft.com/office/powerpoint/2010/main" val="13430905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CD3C742-6F86-45FF-A427-AFB93DDC4D4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632FB02-0B47-413F-AF3D-2C9432E5A4C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1492A08-A855-45D4-B1BA-60E4076BF41E}"/>
              </a:ext>
            </a:extLst>
          </p:cNvPr>
          <p:cNvSpPr>
            <a:spLocks noGrp="1"/>
          </p:cNvSpPr>
          <p:nvPr>
            <p:ph type="dt" sz="half" idx="10"/>
          </p:nvPr>
        </p:nvSpPr>
        <p:spPr/>
        <p:txBody>
          <a:bodyPr/>
          <a:lstStyle/>
          <a:p>
            <a:fld id="{82B8FF39-08A2-40A3-894E-8A1D692AB169}" type="datetimeFigureOut">
              <a:rPr lang="en-US" smtClean="0"/>
              <a:t>2/1/2021</a:t>
            </a:fld>
            <a:endParaRPr lang="en-US"/>
          </a:p>
        </p:txBody>
      </p:sp>
      <p:sp>
        <p:nvSpPr>
          <p:cNvPr id="5" name="Footer Placeholder 4">
            <a:extLst>
              <a:ext uri="{FF2B5EF4-FFF2-40B4-BE49-F238E27FC236}">
                <a16:creationId xmlns:a16="http://schemas.microsoft.com/office/drawing/2014/main" id="{4007B0C0-5396-4214-969C-31A5200894D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33E5B5-DF28-4331-947E-C0532E6E4267}"/>
              </a:ext>
            </a:extLst>
          </p:cNvPr>
          <p:cNvSpPr>
            <a:spLocks noGrp="1"/>
          </p:cNvSpPr>
          <p:nvPr>
            <p:ph type="sldNum" sz="quarter" idx="12"/>
          </p:nvPr>
        </p:nvSpPr>
        <p:spPr/>
        <p:txBody>
          <a:bodyPr/>
          <a:lstStyle/>
          <a:p>
            <a:fld id="{70ACE8E8-32F1-407B-9631-B42BD3CB494A}" type="slidenum">
              <a:rPr lang="en-US" smtClean="0"/>
              <a:t>‹#›</a:t>
            </a:fld>
            <a:endParaRPr lang="en-US"/>
          </a:p>
        </p:txBody>
      </p:sp>
    </p:spTree>
    <p:extLst>
      <p:ext uri="{BB962C8B-B14F-4D97-AF65-F5344CB8AC3E}">
        <p14:creationId xmlns:p14="http://schemas.microsoft.com/office/powerpoint/2010/main" val="38327404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60E6A9-627C-4487-ABC7-23142BA71233}"/>
              </a:ext>
            </a:extLst>
          </p:cNvPr>
          <p:cNvGraphicFramePr>
            <a:graphicFrameLocks noChangeAspect="1"/>
          </p:cNvGraphicFramePr>
          <p:nvPr userDrawn="1">
            <p:custDataLst>
              <p:tags r:id="rId2"/>
            </p:custDataLst>
            <p:extLst>
              <p:ext uri="{D42A27DB-BD31-4B8C-83A1-F6EECF244321}">
                <p14:modId xmlns:p14="http://schemas.microsoft.com/office/powerpoint/2010/main" val="3939422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D360E6A9-627C-4487-ABC7-23142BA712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atin typeface="+mn-lt"/>
              </a:defRPr>
            </a:lvl1pPr>
          </a:lstStyle>
          <a:p>
            <a:pPr algn="l"/>
            <a:endParaRPr lang="en-US" sz="1400">
              <a:cs typeface="Calibri" panose="020F0502020204030204" pitchFamily="34" charset="0"/>
            </a:endParaRPr>
          </a:p>
        </p:txBody>
      </p:sp>
      <p:pic>
        <p:nvPicPr>
          <p:cNvPr id="21" name="Picture 20">
            <a:extLst>
              <a:ext uri="{FF2B5EF4-FFF2-40B4-BE49-F238E27FC236}">
                <a16:creationId xmlns:a16="http://schemas.microsoft.com/office/drawing/2014/main" id="{3E78BBF4-7326-B24C-8D9C-EA7271927983}"/>
              </a:ext>
            </a:extLst>
          </p:cNvPr>
          <p:cNvPicPr>
            <a:picLocks noChangeAspect="1"/>
          </p:cNvPicPr>
          <p:nvPr userDrawn="1"/>
        </p:nvPicPr>
        <p:blipFill>
          <a:blip r:embed="rId6">
            <a:extLst>
              <a:ext uri="{BEBA8EAE-BF5A-486C-A8C5-ECC9F3942E4B}">
                <a14:imgProps xmlns:a14="http://schemas.microsoft.com/office/drawing/2010/main">
                  <a14:imgLayer r:embed="rId7">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33222" y="4599709"/>
            <a:ext cx="3197561" cy="1765581"/>
          </a:xfrm>
          <a:prstGeom prst="rect">
            <a:avLst/>
          </a:prstGeom>
        </p:spPr>
      </p:pic>
      <p:pic>
        <p:nvPicPr>
          <p:cNvPr id="7" name="Picture 6">
            <a:extLst>
              <a:ext uri="{FF2B5EF4-FFF2-40B4-BE49-F238E27FC236}">
                <a16:creationId xmlns:a16="http://schemas.microsoft.com/office/drawing/2014/main" id="{F32F594E-967C-4C7A-9D2F-71BAD7AAC280}"/>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l="11623" r="19671"/>
          <a:stretch/>
        </p:blipFill>
        <p:spPr>
          <a:xfrm>
            <a:off x="5633038" y="2259"/>
            <a:ext cx="6558962" cy="6362700"/>
          </a:xfrm>
          <a:prstGeom prst="rect">
            <a:avLst/>
          </a:prstGeom>
        </p:spPr>
      </p:pic>
      <p:sp>
        <p:nvSpPr>
          <p:cNvPr id="2" name="Rectangle 1">
            <a:extLst>
              <a:ext uri="{FF2B5EF4-FFF2-40B4-BE49-F238E27FC236}">
                <a16:creationId xmlns:a16="http://schemas.microsoft.com/office/drawing/2014/main" id="{DD129BCE-7AB8-427A-B17C-45612D5C2075}"/>
              </a:ext>
            </a:extLst>
          </p:cNvPr>
          <p:cNvSpPr/>
          <p:nvPr userDrawn="1"/>
        </p:nvSpPr>
        <p:spPr>
          <a:xfrm>
            <a:off x="5633038" y="0"/>
            <a:ext cx="6558962" cy="6364959"/>
          </a:xfrm>
          <a:prstGeom prst="rect">
            <a:avLst/>
          </a:prstGeom>
          <a:solidFill>
            <a:schemeClr val="bg1">
              <a:lumMod val="9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63BB1A73-F8CA-4636-8FEE-67C82F65B85B}"/>
              </a:ext>
            </a:extLst>
          </p:cNvPr>
          <p:cNvSpPr/>
          <p:nvPr userDrawn="1"/>
        </p:nvSpPr>
        <p:spPr>
          <a:xfrm>
            <a:off x="0" y="6273209"/>
            <a:ext cx="12192000" cy="584791"/>
          </a:xfrm>
          <a:prstGeom prst="rect">
            <a:avLst/>
          </a:prstGeom>
          <a:solidFill>
            <a:srgbClr val="0143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C DHHS COVID-19 Response</a:t>
            </a:r>
          </a:p>
        </p:txBody>
      </p:sp>
      <p:sp>
        <p:nvSpPr>
          <p:cNvPr id="4" name="Title 3">
            <a:extLst>
              <a:ext uri="{FF2B5EF4-FFF2-40B4-BE49-F238E27FC236}">
                <a16:creationId xmlns:a16="http://schemas.microsoft.com/office/drawing/2014/main" id="{708F948B-FD6F-4BF3-9161-A2668C5694B6}"/>
              </a:ext>
            </a:extLst>
          </p:cNvPr>
          <p:cNvSpPr>
            <a:spLocks noGrp="1"/>
          </p:cNvSpPr>
          <p:nvPr>
            <p:ph type="title"/>
          </p:nvPr>
        </p:nvSpPr>
        <p:spPr>
          <a:xfrm>
            <a:off x="406931" y="1316057"/>
            <a:ext cx="4873625" cy="1585913"/>
          </a:xfrm>
          <a:prstGeom prst="rect">
            <a:avLst/>
          </a:prstGeom>
        </p:spPr>
        <p:txBody>
          <a:bodyPr vert="horz" wrap="square" lIns="91440" tIns="45720" rIns="91440" bIns="45720" rtlCol="0" anchor="ctr" anchorCtr="0">
            <a:noAutofit/>
          </a:bodyPr>
          <a:lstStyle>
            <a:lvl1pPr marL="0" indent="0" algn="l">
              <a:lnSpc>
                <a:spcPct val="90000"/>
              </a:lnSpc>
              <a:spcBef>
                <a:spcPct val="0"/>
              </a:spcBef>
              <a:spcAft>
                <a:spcPts val="0"/>
              </a:spcAft>
              <a:buFontTx/>
              <a:buNone/>
              <a:defRPr lang="en-US" sz="3600" b="1" i="0">
                <a:solidFill>
                  <a:srgbClr val="294158"/>
                </a:solidFill>
                <a:latin typeface="EYInterstate Light"/>
                <a:cs typeface="Times New Roman"/>
              </a:defRPr>
            </a:lvl1pPr>
          </a:lstStyle>
          <a:p>
            <a:pPr lvl="0"/>
            <a:r>
              <a:rPr lang="en-US"/>
              <a:t>Click to edit Master title style</a:t>
            </a:r>
          </a:p>
        </p:txBody>
      </p:sp>
    </p:spTree>
    <p:extLst>
      <p:ext uri="{BB962C8B-B14F-4D97-AF65-F5344CB8AC3E}">
        <p14:creationId xmlns:p14="http://schemas.microsoft.com/office/powerpoint/2010/main" val="34232744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pic>
        <p:nvPicPr>
          <p:cNvPr id="3" name="Picture 2">
            <a:extLst>
              <a:ext uri="{FF2B5EF4-FFF2-40B4-BE49-F238E27FC236}">
                <a16:creationId xmlns:a16="http://schemas.microsoft.com/office/drawing/2014/main" id="{9EA11BB6-3304-4786-97E7-A56B9BEDB577}"/>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Tree>
    <p:extLst>
      <p:ext uri="{BB962C8B-B14F-4D97-AF65-F5344CB8AC3E}">
        <p14:creationId xmlns:p14="http://schemas.microsoft.com/office/powerpoint/2010/main" val="11085706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1_">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pic>
        <p:nvPicPr>
          <p:cNvPr id="3" name="Picture 2">
            <a:extLst>
              <a:ext uri="{FF2B5EF4-FFF2-40B4-BE49-F238E27FC236}">
                <a16:creationId xmlns:a16="http://schemas.microsoft.com/office/drawing/2014/main" id="{9EA11BB6-3304-4786-97E7-A56B9BEDB577}"/>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
        <p:nvSpPr>
          <p:cNvPr id="8" name="Rectangle 7">
            <a:extLst>
              <a:ext uri="{FF2B5EF4-FFF2-40B4-BE49-F238E27FC236}">
                <a16:creationId xmlns:a16="http://schemas.microsoft.com/office/drawing/2014/main" id="{02DD0243-E01C-44C4-A0DB-7A16FB3C72EA}"/>
              </a:ext>
            </a:extLst>
          </p:cNvPr>
          <p:cNvSpPr/>
          <p:nvPr userDrawn="1"/>
        </p:nvSpPr>
        <p:spPr>
          <a:xfrm>
            <a:off x="0" y="-1"/>
            <a:ext cx="12192000" cy="6115050"/>
          </a:xfrm>
          <a:prstGeom prst="rect">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EYInterstate" panose="02000503020000020004" pitchFamily="2" charset="0"/>
              <a:ea typeface="+mn-ea"/>
              <a:cs typeface="+mn-cs"/>
            </a:endParaRPr>
          </a:p>
        </p:txBody>
      </p:sp>
      <p:sp>
        <p:nvSpPr>
          <p:cNvPr id="9" name="Title 8">
            <a:extLst>
              <a:ext uri="{FF2B5EF4-FFF2-40B4-BE49-F238E27FC236}">
                <a16:creationId xmlns:a16="http://schemas.microsoft.com/office/drawing/2014/main" id="{C6E52AB2-C503-45BB-896A-3291700FDF2E}"/>
              </a:ext>
            </a:extLst>
          </p:cNvPr>
          <p:cNvSpPr>
            <a:spLocks noGrp="1"/>
          </p:cNvSpPr>
          <p:nvPr>
            <p:ph type="title"/>
          </p:nvPr>
        </p:nvSpPr>
        <p:spPr>
          <a:xfrm>
            <a:off x="864523" y="2734358"/>
            <a:ext cx="8261108" cy="646331"/>
          </a:xfrm>
          <a:prstGeom prst="rect">
            <a:avLst/>
          </a:prstGeom>
          <a:noFill/>
        </p:spPr>
        <p:txBody>
          <a:bodyPr wrap="none" lIns="91440" tIns="45720" rIns="91440" bIns="45720" rtlCol="0" anchor="t" anchorCtr="0">
            <a:noAutofit/>
          </a:bodyPr>
          <a:lstStyle>
            <a:lvl1pPr marL="0" indent="0" algn="l">
              <a:lnSpc>
                <a:spcPct val="100000"/>
              </a:lnSpc>
              <a:spcBef>
                <a:spcPct val="0"/>
              </a:spcBef>
              <a:spcAft>
                <a:spcPts val="0"/>
              </a:spcAft>
              <a:buFontTx/>
              <a:buNone/>
              <a:defRPr lang="en-US" sz="3600" b="1" i="0" dirty="0">
                <a:solidFill>
                  <a:srgbClr val="FFFFFF"/>
                </a:solidFill>
                <a:latin typeface="EYInterstate" panose="02000503020000020004"/>
                <a:ea typeface="+mn-ea"/>
                <a:cs typeface="+mn-cs"/>
              </a:defRPr>
            </a:lvl1pPr>
          </a:lstStyle>
          <a:p>
            <a:pPr marL="0" lvl="0"/>
            <a:r>
              <a:rPr lang="en-US"/>
              <a:t>Click to edit Master title style</a:t>
            </a:r>
          </a:p>
        </p:txBody>
      </p:sp>
      <p:sp>
        <p:nvSpPr>
          <p:cNvPr id="10" name="Text Placeholder 10">
            <a:extLst>
              <a:ext uri="{FF2B5EF4-FFF2-40B4-BE49-F238E27FC236}">
                <a16:creationId xmlns:a16="http://schemas.microsoft.com/office/drawing/2014/main" id="{3E8B990D-35F8-489F-AB5F-508BF94971CA}"/>
              </a:ext>
            </a:extLst>
          </p:cNvPr>
          <p:cNvSpPr>
            <a:spLocks noGrp="1"/>
          </p:cNvSpPr>
          <p:nvPr>
            <p:ph type="body" sz="quarter" idx="10"/>
          </p:nvPr>
        </p:nvSpPr>
        <p:spPr>
          <a:xfrm>
            <a:off x="864523" y="3429000"/>
            <a:ext cx="8261108" cy="954107"/>
          </a:xfrm>
          <a:prstGeom prst="rect">
            <a:avLst/>
          </a:prstGeom>
          <a:noFill/>
        </p:spPr>
        <p:txBody>
          <a:bodyPr wrap="square" lIns="91440" tIns="45720" rIns="91440" bIns="45720" rtlCol="0" anchor="t" anchorCtr="0">
            <a:noAutofit/>
          </a:bodyPr>
          <a:lstStyle>
            <a:lvl1pPr marL="0" indent="0" algn="l">
              <a:lnSpc>
                <a:spcPct val="100000"/>
              </a:lnSpc>
              <a:spcBef>
                <a:spcPts val="0"/>
              </a:spcBef>
              <a:spcAft>
                <a:spcPts val="0"/>
              </a:spcAft>
              <a:buFontTx/>
              <a:buNone/>
              <a:defRPr lang="en-US" sz="2800" b="0" i="0" dirty="0" smtClean="0">
                <a:solidFill>
                  <a:srgbClr val="FFFFFF"/>
                </a:solidFill>
                <a:latin typeface="EYInterstate" panose="02000503020000020004"/>
              </a:defRPr>
            </a:lvl1pPr>
          </a:lstStyle>
          <a:p>
            <a:pPr marL="0" lvl="0"/>
            <a:r>
              <a:rPr lang="en-US"/>
              <a:t>Click to edit Master text styles</a:t>
            </a:r>
          </a:p>
        </p:txBody>
      </p:sp>
    </p:spTree>
    <p:extLst>
      <p:ext uri="{BB962C8B-B14F-4D97-AF65-F5344CB8AC3E}">
        <p14:creationId xmlns:p14="http://schemas.microsoft.com/office/powerpoint/2010/main" val="36287098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pic>
        <p:nvPicPr>
          <p:cNvPr id="3" name="Picture 2">
            <a:extLst>
              <a:ext uri="{FF2B5EF4-FFF2-40B4-BE49-F238E27FC236}">
                <a16:creationId xmlns:a16="http://schemas.microsoft.com/office/drawing/2014/main" id="{9EA11BB6-3304-4786-97E7-A56B9BEDB577}"/>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
        <p:nvSpPr>
          <p:cNvPr id="4" name="Title 8">
            <a:extLst>
              <a:ext uri="{FF2B5EF4-FFF2-40B4-BE49-F238E27FC236}">
                <a16:creationId xmlns:a16="http://schemas.microsoft.com/office/drawing/2014/main" id="{BBFD8B02-5ABB-4440-8134-FB99935F278B}"/>
              </a:ext>
            </a:extLst>
          </p:cNvPr>
          <p:cNvSpPr>
            <a:spLocks noGrp="1"/>
          </p:cNvSpPr>
          <p:nvPr>
            <p:ph type="title"/>
          </p:nvPr>
        </p:nvSpPr>
        <p:spPr>
          <a:xfrm>
            <a:off x="253934" y="16009"/>
            <a:ext cx="11474771" cy="719052"/>
          </a:xfrm>
          <a:prstGeom prst="rect">
            <a:avLst/>
          </a:prstGeom>
        </p:spPr>
        <p:txBody>
          <a:bodyPr vert="horz" wrap="square" lIns="91440" tIns="45720" rIns="91440" bIns="45720" rtlCol="0" anchor="ctr" anchorCtr="0">
            <a:noAutofit/>
          </a:bodyPr>
          <a:lstStyle>
            <a:lvl1pPr marL="0" indent="0" algn="l">
              <a:lnSpc>
                <a:spcPct val="100000"/>
              </a:lnSpc>
              <a:spcBef>
                <a:spcPct val="0"/>
              </a:spcBef>
              <a:spcAft>
                <a:spcPts val="0"/>
              </a:spcAft>
              <a:buFontTx/>
              <a:buNone/>
              <a:defRPr lang="en-US" sz="2000" b="1" i="0" dirty="0">
                <a:ln w="0">
                  <a:noFill/>
                </a:ln>
                <a:solidFill>
                  <a:srgbClr val="000000"/>
                </a:solidFill>
                <a:latin typeface="EYInterstate"/>
                <a:cs typeface="Arial"/>
              </a:defRPr>
            </a:lvl1pPr>
          </a:lstStyle>
          <a:p>
            <a:pPr marL="0" lvl="0" defTabSz="457200"/>
            <a:r>
              <a:rPr lang="en-US"/>
              <a:t>Click to edit Master title style</a:t>
            </a:r>
          </a:p>
        </p:txBody>
      </p:sp>
      <p:sp>
        <p:nvSpPr>
          <p:cNvPr id="6" name="Text Placeholder 10">
            <a:extLst>
              <a:ext uri="{FF2B5EF4-FFF2-40B4-BE49-F238E27FC236}">
                <a16:creationId xmlns:a16="http://schemas.microsoft.com/office/drawing/2014/main" id="{4E3743DB-0EE0-402D-BAAC-B442ECB111EC}"/>
              </a:ext>
            </a:extLst>
          </p:cNvPr>
          <p:cNvSpPr>
            <a:spLocks noGrp="1"/>
          </p:cNvSpPr>
          <p:nvPr>
            <p:ph type="body" sz="quarter" idx="10"/>
          </p:nvPr>
        </p:nvSpPr>
        <p:spPr>
          <a:xfrm>
            <a:off x="356921" y="878820"/>
            <a:ext cx="11371784" cy="3598999"/>
          </a:xfrm>
          <a:prstGeom prst="rect">
            <a:avLst/>
          </a:prstGeom>
        </p:spPr>
        <p:txBody>
          <a:bodyPr vert="horz" wrap="square" lIns="0" tIns="12700" rIns="0" bIns="0" rtlCol="0" anchor="t" anchorCtr="0">
            <a:noAutofit/>
          </a:bodyPr>
          <a:lstStyle>
            <a:lvl1pPr marL="0" indent="0" algn="l">
              <a:lnSpc>
                <a:spcPct val="100000"/>
              </a:lnSpc>
              <a:spcBef>
                <a:spcPts val="0"/>
              </a:spcBef>
              <a:spcAft>
                <a:spcPts val="600"/>
              </a:spcAft>
              <a:buFontTx/>
              <a:buNone/>
              <a:defRPr lang="en-US" sz="1600" b="0" i="0" smtClean="0">
                <a:solidFill>
                  <a:srgbClr val="000000"/>
                </a:solidFill>
                <a:latin typeface="EYInterstate"/>
              </a:defRPr>
            </a:lvl1pPr>
            <a:lvl2pPr marL="228600" indent="0">
              <a:buNone/>
              <a:defRPr lang="en-US" sz="1800" smtClean="0"/>
            </a:lvl2pPr>
            <a:lvl3pPr>
              <a:defRPr lang="en-US" sz="1800" smtClean="0"/>
            </a:lvl3pPr>
            <a:lvl4pPr>
              <a:defRPr lang="en-US" smtClean="0"/>
            </a:lvl4pPr>
            <a:lvl5pPr>
              <a:defRPr lang="en-US"/>
            </a:lvl5pPr>
          </a:lstStyle>
          <a:p>
            <a:pPr marL="12065" marR="5080" lvl="0" defTabSz="457200">
              <a:spcAft>
                <a:spcPts val="600"/>
              </a:spcAft>
              <a:tabLst>
                <a:tab pos="241300" algn="l"/>
              </a:tabLst>
            </a:pPr>
            <a:r>
              <a:rPr lang="en-US"/>
              <a:t>Click to edit Master text styles</a:t>
            </a:r>
          </a:p>
        </p:txBody>
      </p:sp>
      <p:cxnSp>
        <p:nvCxnSpPr>
          <p:cNvPr id="7" name="Straight Arrow Connector 6">
            <a:extLst>
              <a:ext uri="{FF2B5EF4-FFF2-40B4-BE49-F238E27FC236}">
                <a16:creationId xmlns:a16="http://schemas.microsoft.com/office/drawing/2014/main" id="{88837183-B8A1-4AFA-BDD9-6D8D203312AE}"/>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16034711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cxnSp>
        <p:nvCxnSpPr>
          <p:cNvPr id="7" name="Straight Arrow Connector 6">
            <a:extLst>
              <a:ext uri="{FF2B5EF4-FFF2-40B4-BE49-F238E27FC236}">
                <a16:creationId xmlns:a16="http://schemas.microsoft.com/office/drawing/2014/main" id="{5ADE2C1B-ADD1-44EB-BD83-C6F8614534DF}"/>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
        <p:nvSpPr>
          <p:cNvPr id="8" name="Freeform 43">
            <a:extLst>
              <a:ext uri="{FF2B5EF4-FFF2-40B4-BE49-F238E27FC236}">
                <a16:creationId xmlns:a16="http://schemas.microsoft.com/office/drawing/2014/main" id="{43822BC5-C48F-42EC-BD20-EA770B20BB81}"/>
              </a:ext>
            </a:extLst>
          </p:cNvPr>
          <p:cNvSpPr>
            <a:spLocks/>
          </p:cNvSpPr>
          <p:nvPr userDrawn="1"/>
        </p:nvSpPr>
        <p:spPr>
          <a:xfrm rot="5400000">
            <a:off x="6928233" y="3671288"/>
            <a:ext cx="5483425" cy="45719"/>
          </a:xfrm>
          <a:custGeom>
            <a:avLst/>
            <a:gdLst>
              <a:gd name="connsiteX0" fmla="*/ 0 w 11052722"/>
              <a:gd name="connsiteY0" fmla="*/ 0 h 120650"/>
              <a:gd name="connsiteX1" fmla="*/ 10692722 w 11052722"/>
              <a:gd name="connsiteY1" fmla="*/ 0 h 120650"/>
              <a:gd name="connsiteX2" fmla="*/ 10747924 w 11052722"/>
              <a:gd name="connsiteY2" fmla="*/ 0 h 120650"/>
              <a:gd name="connsiteX3" fmla="*/ 10992397 w 11052722"/>
              <a:gd name="connsiteY3" fmla="*/ 0 h 120650"/>
              <a:gd name="connsiteX4" fmla="*/ 11052722 w 11052722"/>
              <a:gd name="connsiteY4" fmla="*/ 60325 h 120650"/>
              <a:gd name="connsiteX5" fmla="*/ 10992397 w 11052722"/>
              <a:gd name="connsiteY5" fmla="*/ 120650 h 120650"/>
              <a:gd name="connsiteX6" fmla="*/ 10747924 w 11052722"/>
              <a:gd name="connsiteY6" fmla="*/ 120650 h 120650"/>
              <a:gd name="connsiteX7" fmla="*/ 10692722 w 11052722"/>
              <a:gd name="connsiteY7" fmla="*/ 120650 h 120650"/>
              <a:gd name="connsiteX8" fmla="*/ 0 w 11052722"/>
              <a:gd name="connsiteY8" fmla="*/ 120650 h 120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52722" h="120650">
                <a:moveTo>
                  <a:pt x="0" y="0"/>
                </a:moveTo>
                <a:lnTo>
                  <a:pt x="10692722" y="0"/>
                </a:lnTo>
                <a:lnTo>
                  <a:pt x="10747924" y="0"/>
                </a:lnTo>
                <a:lnTo>
                  <a:pt x="10992397" y="0"/>
                </a:lnTo>
                <a:lnTo>
                  <a:pt x="11052722" y="60325"/>
                </a:lnTo>
                <a:lnTo>
                  <a:pt x="10992397" y="120650"/>
                </a:lnTo>
                <a:lnTo>
                  <a:pt x="10747924" y="120650"/>
                </a:lnTo>
                <a:lnTo>
                  <a:pt x="10692722" y="120650"/>
                </a:lnTo>
                <a:lnTo>
                  <a:pt x="0" y="120650"/>
                </a:lnTo>
                <a:close/>
              </a:path>
            </a:pathLst>
          </a:custGeom>
          <a:solidFill>
            <a:schemeClr val="bg1">
              <a:lumMod val="8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Title 8">
            <a:extLst>
              <a:ext uri="{FF2B5EF4-FFF2-40B4-BE49-F238E27FC236}">
                <a16:creationId xmlns:a16="http://schemas.microsoft.com/office/drawing/2014/main" id="{F891C679-9D08-469E-9D05-B412F749C501}"/>
              </a:ext>
            </a:extLst>
          </p:cNvPr>
          <p:cNvSpPr>
            <a:spLocks noGrp="1"/>
          </p:cNvSpPr>
          <p:nvPr>
            <p:ph type="title"/>
          </p:nvPr>
        </p:nvSpPr>
        <p:spPr>
          <a:xfrm>
            <a:off x="253934" y="16009"/>
            <a:ext cx="11474771" cy="719052"/>
          </a:xfrm>
          <a:prstGeom prst="rect">
            <a:avLst/>
          </a:prstGeom>
        </p:spPr>
        <p:txBody>
          <a:bodyPr vert="horz" wrap="square" lIns="91440" tIns="45720" rIns="91440" bIns="45720" rtlCol="0" anchor="ctr" anchorCtr="0">
            <a:noAutofit/>
          </a:bodyPr>
          <a:lstStyle>
            <a:lvl1pPr marL="0" indent="0" algn="l">
              <a:lnSpc>
                <a:spcPct val="100000"/>
              </a:lnSpc>
              <a:spcBef>
                <a:spcPct val="0"/>
              </a:spcBef>
              <a:spcAft>
                <a:spcPts val="0"/>
              </a:spcAft>
              <a:buFontTx/>
              <a:buNone/>
              <a:defRPr lang="en-US" sz="2000" b="1" i="0" dirty="0">
                <a:ln w="0">
                  <a:noFill/>
                </a:ln>
                <a:solidFill>
                  <a:srgbClr val="000000"/>
                </a:solidFill>
                <a:latin typeface="EYInterstate"/>
                <a:cs typeface="Arial"/>
              </a:defRPr>
            </a:lvl1pPr>
          </a:lstStyle>
          <a:p>
            <a:pPr marL="0" lvl="0" defTabSz="457200"/>
            <a:r>
              <a:rPr lang="en-US"/>
              <a:t>Click to edit Master title style</a:t>
            </a:r>
          </a:p>
        </p:txBody>
      </p:sp>
      <p:sp>
        <p:nvSpPr>
          <p:cNvPr id="11" name="Text Placeholder 10">
            <a:extLst>
              <a:ext uri="{FF2B5EF4-FFF2-40B4-BE49-F238E27FC236}">
                <a16:creationId xmlns:a16="http://schemas.microsoft.com/office/drawing/2014/main" id="{3FE5639A-994B-4DF4-8CF6-DF1A348C5190}"/>
              </a:ext>
            </a:extLst>
          </p:cNvPr>
          <p:cNvSpPr>
            <a:spLocks noGrp="1"/>
          </p:cNvSpPr>
          <p:nvPr>
            <p:ph type="body" sz="quarter" idx="10"/>
          </p:nvPr>
        </p:nvSpPr>
        <p:spPr>
          <a:xfrm>
            <a:off x="356921" y="878820"/>
            <a:ext cx="8815445" cy="3598999"/>
          </a:xfrm>
          <a:prstGeom prst="rect">
            <a:avLst/>
          </a:prstGeom>
        </p:spPr>
        <p:txBody>
          <a:bodyPr vert="horz" wrap="square" lIns="0" tIns="12700" rIns="0" bIns="0" rtlCol="0" anchor="t" anchorCtr="0">
            <a:noAutofit/>
          </a:bodyPr>
          <a:lstStyle>
            <a:lvl1pPr marL="0" indent="0" algn="l">
              <a:lnSpc>
                <a:spcPct val="100000"/>
              </a:lnSpc>
              <a:spcBef>
                <a:spcPts val="0"/>
              </a:spcBef>
              <a:spcAft>
                <a:spcPts val="600"/>
              </a:spcAft>
              <a:buFontTx/>
              <a:buNone/>
              <a:defRPr lang="en-US" sz="1600" b="0" i="0" smtClean="0">
                <a:solidFill>
                  <a:srgbClr val="000000"/>
                </a:solidFill>
                <a:latin typeface="EYInterstate"/>
              </a:defRPr>
            </a:lvl1pPr>
            <a:lvl2pPr marL="228600" indent="0">
              <a:buNone/>
              <a:defRPr lang="en-US" sz="1800" smtClean="0"/>
            </a:lvl2pPr>
            <a:lvl3pPr>
              <a:defRPr lang="en-US" sz="1800" smtClean="0"/>
            </a:lvl3pPr>
            <a:lvl4pPr>
              <a:defRPr lang="en-US" smtClean="0"/>
            </a:lvl4pPr>
            <a:lvl5pPr>
              <a:defRPr lang="en-US"/>
            </a:lvl5pPr>
          </a:lstStyle>
          <a:p>
            <a:pPr marL="12065" marR="5080" lvl="0" defTabSz="457200">
              <a:spcAft>
                <a:spcPts val="600"/>
              </a:spcAft>
              <a:tabLst>
                <a:tab pos="241300" algn="l"/>
              </a:tabLst>
            </a:pPr>
            <a:r>
              <a:rPr lang="en-US"/>
              <a:t>Click to edit Master text styles</a:t>
            </a:r>
          </a:p>
        </p:txBody>
      </p:sp>
    </p:spTree>
    <p:extLst>
      <p:ext uri="{BB962C8B-B14F-4D97-AF65-F5344CB8AC3E}">
        <p14:creationId xmlns:p14="http://schemas.microsoft.com/office/powerpoint/2010/main" val="23136931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7" name="Straight Arrow Connector 6">
            <a:extLst>
              <a:ext uri="{FF2B5EF4-FFF2-40B4-BE49-F238E27FC236}">
                <a16:creationId xmlns:a16="http://schemas.microsoft.com/office/drawing/2014/main" id="{5ADE2C1B-ADD1-44EB-BD83-C6F8614534DF}"/>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
        <p:nvSpPr>
          <p:cNvPr id="8" name="Freeform 43">
            <a:extLst>
              <a:ext uri="{FF2B5EF4-FFF2-40B4-BE49-F238E27FC236}">
                <a16:creationId xmlns:a16="http://schemas.microsoft.com/office/drawing/2014/main" id="{43822BC5-C48F-42EC-BD20-EA770B20BB81}"/>
              </a:ext>
            </a:extLst>
          </p:cNvPr>
          <p:cNvSpPr>
            <a:spLocks/>
          </p:cNvSpPr>
          <p:nvPr userDrawn="1"/>
        </p:nvSpPr>
        <p:spPr>
          <a:xfrm rot="5400000">
            <a:off x="6928233" y="3671288"/>
            <a:ext cx="5483425" cy="45719"/>
          </a:xfrm>
          <a:custGeom>
            <a:avLst/>
            <a:gdLst>
              <a:gd name="connsiteX0" fmla="*/ 0 w 11052722"/>
              <a:gd name="connsiteY0" fmla="*/ 0 h 120650"/>
              <a:gd name="connsiteX1" fmla="*/ 10692722 w 11052722"/>
              <a:gd name="connsiteY1" fmla="*/ 0 h 120650"/>
              <a:gd name="connsiteX2" fmla="*/ 10747924 w 11052722"/>
              <a:gd name="connsiteY2" fmla="*/ 0 h 120650"/>
              <a:gd name="connsiteX3" fmla="*/ 10992397 w 11052722"/>
              <a:gd name="connsiteY3" fmla="*/ 0 h 120650"/>
              <a:gd name="connsiteX4" fmla="*/ 11052722 w 11052722"/>
              <a:gd name="connsiteY4" fmla="*/ 60325 h 120650"/>
              <a:gd name="connsiteX5" fmla="*/ 10992397 w 11052722"/>
              <a:gd name="connsiteY5" fmla="*/ 120650 h 120650"/>
              <a:gd name="connsiteX6" fmla="*/ 10747924 w 11052722"/>
              <a:gd name="connsiteY6" fmla="*/ 120650 h 120650"/>
              <a:gd name="connsiteX7" fmla="*/ 10692722 w 11052722"/>
              <a:gd name="connsiteY7" fmla="*/ 120650 h 120650"/>
              <a:gd name="connsiteX8" fmla="*/ 0 w 11052722"/>
              <a:gd name="connsiteY8" fmla="*/ 120650 h 120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52722" h="120650">
                <a:moveTo>
                  <a:pt x="0" y="0"/>
                </a:moveTo>
                <a:lnTo>
                  <a:pt x="10692722" y="0"/>
                </a:lnTo>
                <a:lnTo>
                  <a:pt x="10747924" y="0"/>
                </a:lnTo>
                <a:lnTo>
                  <a:pt x="10992397" y="0"/>
                </a:lnTo>
                <a:lnTo>
                  <a:pt x="11052722" y="60325"/>
                </a:lnTo>
                <a:lnTo>
                  <a:pt x="10992397" y="120650"/>
                </a:lnTo>
                <a:lnTo>
                  <a:pt x="10747924" y="120650"/>
                </a:lnTo>
                <a:lnTo>
                  <a:pt x="10692722" y="120650"/>
                </a:lnTo>
                <a:lnTo>
                  <a:pt x="0" y="120650"/>
                </a:lnTo>
                <a:close/>
              </a:path>
            </a:pathLst>
          </a:custGeom>
          <a:solidFill>
            <a:schemeClr val="bg1">
              <a:lumMod val="8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Title 8">
            <a:extLst>
              <a:ext uri="{FF2B5EF4-FFF2-40B4-BE49-F238E27FC236}">
                <a16:creationId xmlns:a16="http://schemas.microsoft.com/office/drawing/2014/main" id="{F891C679-9D08-469E-9D05-B412F749C501}"/>
              </a:ext>
            </a:extLst>
          </p:cNvPr>
          <p:cNvSpPr>
            <a:spLocks noGrp="1"/>
          </p:cNvSpPr>
          <p:nvPr>
            <p:ph type="title"/>
          </p:nvPr>
        </p:nvSpPr>
        <p:spPr>
          <a:xfrm>
            <a:off x="253934" y="16009"/>
            <a:ext cx="11474771" cy="719052"/>
          </a:xfrm>
          <a:prstGeom prst="rect">
            <a:avLst/>
          </a:prstGeom>
        </p:spPr>
        <p:txBody>
          <a:bodyPr vert="horz" wrap="square" lIns="91440" tIns="45720" rIns="91440" bIns="45720" rtlCol="0" anchor="ctr" anchorCtr="0">
            <a:noAutofit/>
          </a:bodyPr>
          <a:lstStyle>
            <a:lvl1pPr marL="0" indent="0" algn="l">
              <a:lnSpc>
                <a:spcPct val="100000"/>
              </a:lnSpc>
              <a:spcBef>
                <a:spcPct val="0"/>
              </a:spcBef>
              <a:spcAft>
                <a:spcPts val="0"/>
              </a:spcAft>
              <a:buFontTx/>
              <a:buNone/>
              <a:defRPr lang="en-US" sz="2000" b="1" i="0" dirty="0">
                <a:ln w="0">
                  <a:noFill/>
                </a:ln>
                <a:solidFill>
                  <a:srgbClr val="000000"/>
                </a:solidFill>
                <a:latin typeface="EYInterstate"/>
                <a:cs typeface="Arial"/>
              </a:defRPr>
            </a:lvl1pPr>
          </a:lstStyle>
          <a:p>
            <a:pPr marL="0" lvl="0" defTabSz="457200"/>
            <a:r>
              <a:rPr lang="en-US"/>
              <a:t>Click to edit Master title style</a:t>
            </a:r>
          </a:p>
        </p:txBody>
      </p:sp>
      <p:sp>
        <p:nvSpPr>
          <p:cNvPr id="11" name="Text Placeholder 10">
            <a:extLst>
              <a:ext uri="{FF2B5EF4-FFF2-40B4-BE49-F238E27FC236}">
                <a16:creationId xmlns:a16="http://schemas.microsoft.com/office/drawing/2014/main" id="{3FE5639A-994B-4DF4-8CF6-DF1A348C5190}"/>
              </a:ext>
            </a:extLst>
          </p:cNvPr>
          <p:cNvSpPr>
            <a:spLocks noGrp="1"/>
          </p:cNvSpPr>
          <p:nvPr>
            <p:ph type="body" sz="quarter" idx="10"/>
          </p:nvPr>
        </p:nvSpPr>
        <p:spPr>
          <a:xfrm>
            <a:off x="356921" y="878820"/>
            <a:ext cx="8815445" cy="3598999"/>
          </a:xfrm>
          <a:prstGeom prst="rect">
            <a:avLst/>
          </a:prstGeom>
        </p:spPr>
        <p:txBody>
          <a:bodyPr vert="horz" wrap="square" lIns="0" tIns="12700" rIns="0" bIns="0" rtlCol="0" anchor="t" anchorCtr="0">
            <a:noAutofit/>
          </a:bodyPr>
          <a:lstStyle>
            <a:lvl1pPr marL="0" indent="0" algn="l">
              <a:lnSpc>
                <a:spcPct val="100000"/>
              </a:lnSpc>
              <a:spcBef>
                <a:spcPts val="0"/>
              </a:spcBef>
              <a:spcAft>
                <a:spcPts val="600"/>
              </a:spcAft>
              <a:buFontTx/>
              <a:buNone/>
              <a:defRPr lang="en-US" sz="1600" b="0" i="0" smtClean="0">
                <a:solidFill>
                  <a:srgbClr val="000000"/>
                </a:solidFill>
                <a:latin typeface="EYInterstate"/>
              </a:defRPr>
            </a:lvl1pPr>
            <a:lvl2pPr marL="228600" indent="0">
              <a:buNone/>
              <a:defRPr lang="en-US" sz="1800" smtClean="0"/>
            </a:lvl2pPr>
            <a:lvl3pPr>
              <a:defRPr lang="en-US" sz="1800" smtClean="0"/>
            </a:lvl3pPr>
            <a:lvl4pPr>
              <a:defRPr lang="en-US" smtClean="0"/>
            </a:lvl4pPr>
            <a:lvl5pPr>
              <a:defRPr lang="en-US"/>
            </a:lvl5pPr>
          </a:lstStyle>
          <a:p>
            <a:pPr marL="12065" marR="5080" lvl="0" defTabSz="457200">
              <a:spcAft>
                <a:spcPts val="600"/>
              </a:spcAft>
              <a:tabLst>
                <a:tab pos="241300" algn="l"/>
              </a:tabLst>
            </a:pPr>
            <a:r>
              <a:rPr lang="en-US"/>
              <a:t>Click to edit Master text styles</a:t>
            </a:r>
          </a:p>
        </p:txBody>
      </p:sp>
    </p:spTree>
    <p:extLst>
      <p:ext uri="{BB962C8B-B14F-4D97-AF65-F5344CB8AC3E}">
        <p14:creationId xmlns:p14="http://schemas.microsoft.com/office/powerpoint/2010/main" val="34882994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60E6A9-627C-4487-ABC7-23142BA71233}"/>
              </a:ext>
            </a:extLst>
          </p:cNvPr>
          <p:cNvGraphicFramePr>
            <a:graphicFrameLocks noChangeAspect="1"/>
          </p:cNvGraphicFramePr>
          <p:nvPr userDrawn="1">
            <p:custDataLst>
              <p:tags r:id="rId2"/>
            </p:custDataLst>
            <p:extLst>
              <p:ext uri="{D42A27DB-BD31-4B8C-83A1-F6EECF244321}">
                <p14:modId xmlns:p14="http://schemas.microsoft.com/office/powerpoint/2010/main" val="3288003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D360E6A9-627C-4487-ABC7-23142BA712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3870251"/>
            <a:ext cx="3745970" cy="682121"/>
          </a:xfrm>
          <a:prstGeom prst="rect">
            <a:avLst/>
          </a:prstGeom>
        </p:spPr>
        <p:txBody>
          <a:bodyPr anchor="b">
            <a:normAutofit lnSpcReduction="10000"/>
          </a:bodyPr>
          <a:lstStyle>
            <a:lvl1pPr marL="0" indent="0">
              <a:buNone/>
              <a:defRPr>
                <a:latin typeface="+mn-lt"/>
              </a:defRPr>
            </a:lvl1pPr>
          </a:lstStyle>
          <a:p>
            <a:pPr algn="l"/>
            <a:endParaRPr lang="en-US" sz="1400">
              <a:cs typeface="Calibri" panose="020F0502020204030204" pitchFamily="34" charset="0"/>
            </a:endParaRPr>
          </a:p>
        </p:txBody>
      </p:sp>
      <p:pic>
        <p:nvPicPr>
          <p:cNvPr id="21" name="Picture 20">
            <a:extLst>
              <a:ext uri="{FF2B5EF4-FFF2-40B4-BE49-F238E27FC236}">
                <a16:creationId xmlns:a16="http://schemas.microsoft.com/office/drawing/2014/main" id="{3E78BBF4-7326-B24C-8D9C-EA7271927983}"/>
              </a:ext>
            </a:extLst>
          </p:cNvPr>
          <p:cNvPicPr>
            <a:picLocks noChangeAspect="1"/>
          </p:cNvPicPr>
          <p:nvPr userDrawn="1"/>
        </p:nvPicPr>
        <p:blipFill>
          <a:blip r:embed="rId6">
            <a:extLst>
              <a:ext uri="{BEBA8EAE-BF5A-486C-A8C5-ECC9F3942E4B}">
                <a14:imgProps xmlns:a14="http://schemas.microsoft.com/office/drawing/2010/main">
                  <a14:imgLayer r:embed="rId7">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33222" y="4599709"/>
            <a:ext cx="3197561" cy="1765581"/>
          </a:xfrm>
          <a:prstGeom prst="rect">
            <a:avLst/>
          </a:prstGeom>
        </p:spPr>
      </p:pic>
      <p:pic>
        <p:nvPicPr>
          <p:cNvPr id="7" name="Picture 6">
            <a:extLst>
              <a:ext uri="{FF2B5EF4-FFF2-40B4-BE49-F238E27FC236}">
                <a16:creationId xmlns:a16="http://schemas.microsoft.com/office/drawing/2014/main" id="{F32F594E-967C-4C7A-9D2F-71BAD7AAC280}"/>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l="11623" r="19671"/>
          <a:stretch/>
        </p:blipFill>
        <p:spPr>
          <a:xfrm>
            <a:off x="5633038" y="2259"/>
            <a:ext cx="6558962" cy="6362700"/>
          </a:xfrm>
          <a:prstGeom prst="rect">
            <a:avLst/>
          </a:prstGeom>
        </p:spPr>
      </p:pic>
      <p:sp>
        <p:nvSpPr>
          <p:cNvPr id="2" name="Rectangle 1">
            <a:extLst>
              <a:ext uri="{FF2B5EF4-FFF2-40B4-BE49-F238E27FC236}">
                <a16:creationId xmlns:a16="http://schemas.microsoft.com/office/drawing/2014/main" id="{DD129BCE-7AB8-427A-B17C-45612D5C2075}"/>
              </a:ext>
            </a:extLst>
          </p:cNvPr>
          <p:cNvSpPr/>
          <p:nvPr userDrawn="1"/>
        </p:nvSpPr>
        <p:spPr>
          <a:xfrm>
            <a:off x="5633038" y="0"/>
            <a:ext cx="6558962" cy="6364959"/>
          </a:xfrm>
          <a:prstGeom prst="rect">
            <a:avLst/>
          </a:prstGeom>
          <a:solidFill>
            <a:schemeClr val="bg1">
              <a:lumMod val="9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63BB1A73-F8CA-4636-8FEE-67C82F65B85B}"/>
              </a:ext>
            </a:extLst>
          </p:cNvPr>
          <p:cNvSpPr/>
          <p:nvPr userDrawn="1"/>
        </p:nvSpPr>
        <p:spPr>
          <a:xfrm>
            <a:off x="0" y="6273209"/>
            <a:ext cx="12192000" cy="584791"/>
          </a:xfrm>
          <a:prstGeom prst="rect">
            <a:avLst/>
          </a:prstGeom>
          <a:solidFill>
            <a:srgbClr val="0143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C DHHS COVID-19 Response</a:t>
            </a:r>
          </a:p>
        </p:txBody>
      </p:sp>
      <p:sp>
        <p:nvSpPr>
          <p:cNvPr id="4" name="Title 3">
            <a:extLst>
              <a:ext uri="{FF2B5EF4-FFF2-40B4-BE49-F238E27FC236}">
                <a16:creationId xmlns:a16="http://schemas.microsoft.com/office/drawing/2014/main" id="{708F948B-FD6F-4BF3-9161-A2668C5694B6}"/>
              </a:ext>
            </a:extLst>
          </p:cNvPr>
          <p:cNvSpPr>
            <a:spLocks noGrp="1"/>
          </p:cNvSpPr>
          <p:nvPr>
            <p:ph type="title"/>
          </p:nvPr>
        </p:nvSpPr>
        <p:spPr>
          <a:xfrm>
            <a:off x="406931" y="1316057"/>
            <a:ext cx="4873625" cy="1585913"/>
          </a:xfrm>
          <a:prstGeom prst="rect">
            <a:avLst/>
          </a:prstGeom>
        </p:spPr>
        <p:txBody>
          <a:bodyPr vert="horz" wrap="square" lIns="91440" tIns="45720" rIns="91440" bIns="45720" rtlCol="0" anchor="ctr" anchorCtr="0">
            <a:noAutofit/>
          </a:bodyPr>
          <a:lstStyle>
            <a:lvl1pPr marL="0" indent="0" algn="l">
              <a:lnSpc>
                <a:spcPct val="90000"/>
              </a:lnSpc>
              <a:spcBef>
                <a:spcPct val="0"/>
              </a:spcBef>
              <a:spcAft>
                <a:spcPts val="0"/>
              </a:spcAft>
              <a:buFontTx/>
              <a:buNone/>
              <a:defRPr lang="en-US" sz="3600" b="1" i="0">
                <a:solidFill>
                  <a:srgbClr val="294158"/>
                </a:solidFill>
                <a:latin typeface="EYInterstate Light"/>
                <a:cs typeface="Times New Roman"/>
              </a:defRPr>
            </a:lvl1pPr>
          </a:lstStyle>
          <a:p>
            <a:pPr lvl="0"/>
            <a:r>
              <a:rPr lang="en-US"/>
              <a:t>Click to edit Master title style</a:t>
            </a:r>
          </a:p>
        </p:txBody>
      </p:sp>
    </p:spTree>
    <p:extLst>
      <p:ext uri="{BB962C8B-B14F-4D97-AF65-F5344CB8AC3E}">
        <p14:creationId xmlns:p14="http://schemas.microsoft.com/office/powerpoint/2010/main" val="5006462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60E6A9-627C-4487-ABC7-23142BA71233}"/>
              </a:ext>
            </a:extLst>
          </p:cNvPr>
          <p:cNvGraphicFramePr>
            <a:graphicFrameLocks noChangeAspect="1"/>
          </p:cNvGraphicFramePr>
          <p:nvPr userDrawn="1">
            <p:custDataLst>
              <p:tags r:id="rId2"/>
            </p:custDataLst>
            <p:extLst>
              <p:ext uri="{D42A27DB-BD31-4B8C-83A1-F6EECF244321}">
                <p14:modId xmlns:p14="http://schemas.microsoft.com/office/powerpoint/2010/main" val="3546048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D360E6A9-627C-4487-ABC7-23142BA712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atin typeface="+mn-lt"/>
              </a:defRPr>
            </a:lvl1pPr>
          </a:lstStyle>
          <a:p>
            <a:pPr algn="l"/>
            <a:endParaRPr lang="en-US" sz="1400">
              <a:cs typeface="Calibri" panose="020F0502020204030204" pitchFamily="34" charset="0"/>
            </a:endParaRPr>
          </a:p>
        </p:txBody>
      </p:sp>
      <p:pic>
        <p:nvPicPr>
          <p:cNvPr id="21" name="Picture 20">
            <a:extLst>
              <a:ext uri="{FF2B5EF4-FFF2-40B4-BE49-F238E27FC236}">
                <a16:creationId xmlns:a16="http://schemas.microsoft.com/office/drawing/2014/main" id="{3E78BBF4-7326-B24C-8D9C-EA7271927983}"/>
              </a:ext>
            </a:extLst>
          </p:cNvPr>
          <p:cNvPicPr>
            <a:picLocks noChangeAspect="1"/>
          </p:cNvPicPr>
          <p:nvPr userDrawn="1"/>
        </p:nvPicPr>
        <p:blipFill>
          <a:blip r:embed="rId6">
            <a:extLst>
              <a:ext uri="{BEBA8EAE-BF5A-486C-A8C5-ECC9F3942E4B}">
                <a14:imgProps xmlns:a14="http://schemas.microsoft.com/office/drawing/2010/main">
                  <a14:imgLayer r:embed="rId7">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33222" y="4599709"/>
            <a:ext cx="3197561" cy="1765581"/>
          </a:xfrm>
          <a:prstGeom prst="rect">
            <a:avLst/>
          </a:prstGeom>
        </p:spPr>
      </p:pic>
      <p:pic>
        <p:nvPicPr>
          <p:cNvPr id="7" name="Picture 6">
            <a:extLst>
              <a:ext uri="{FF2B5EF4-FFF2-40B4-BE49-F238E27FC236}">
                <a16:creationId xmlns:a16="http://schemas.microsoft.com/office/drawing/2014/main" id="{F32F594E-967C-4C7A-9D2F-71BAD7AAC280}"/>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l="11623" r="19671"/>
          <a:stretch/>
        </p:blipFill>
        <p:spPr>
          <a:xfrm>
            <a:off x="5633038" y="2259"/>
            <a:ext cx="6558962" cy="6362700"/>
          </a:xfrm>
          <a:prstGeom prst="rect">
            <a:avLst/>
          </a:prstGeom>
        </p:spPr>
      </p:pic>
      <p:sp>
        <p:nvSpPr>
          <p:cNvPr id="2" name="Rectangle 1">
            <a:extLst>
              <a:ext uri="{FF2B5EF4-FFF2-40B4-BE49-F238E27FC236}">
                <a16:creationId xmlns:a16="http://schemas.microsoft.com/office/drawing/2014/main" id="{DD129BCE-7AB8-427A-B17C-45612D5C2075}"/>
              </a:ext>
            </a:extLst>
          </p:cNvPr>
          <p:cNvSpPr/>
          <p:nvPr userDrawn="1"/>
        </p:nvSpPr>
        <p:spPr>
          <a:xfrm>
            <a:off x="5633038" y="0"/>
            <a:ext cx="6558962" cy="6364959"/>
          </a:xfrm>
          <a:prstGeom prst="rect">
            <a:avLst/>
          </a:prstGeom>
          <a:solidFill>
            <a:schemeClr val="bg1">
              <a:lumMod val="9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63BB1A73-F8CA-4636-8FEE-67C82F65B85B}"/>
              </a:ext>
            </a:extLst>
          </p:cNvPr>
          <p:cNvSpPr/>
          <p:nvPr userDrawn="1"/>
        </p:nvSpPr>
        <p:spPr>
          <a:xfrm>
            <a:off x="0" y="6273209"/>
            <a:ext cx="12192000" cy="584791"/>
          </a:xfrm>
          <a:prstGeom prst="rect">
            <a:avLst/>
          </a:prstGeom>
          <a:solidFill>
            <a:srgbClr val="0143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C DHHS COVID-19 Response</a:t>
            </a:r>
          </a:p>
        </p:txBody>
      </p:sp>
      <p:sp>
        <p:nvSpPr>
          <p:cNvPr id="4" name="Title 3">
            <a:extLst>
              <a:ext uri="{FF2B5EF4-FFF2-40B4-BE49-F238E27FC236}">
                <a16:creationId xmlns:a16="http://schemas.microsoft.com/office/drawing/2014/main" id="{708F948B-FD6F-4BF3-9161-A2668C5694B6}"/>
              </a:ext>
            </a:extLst>
          </p:cNvPr>
          <p:cNvSpPr>
            <a:spLocks noGrp="1"/>
          </p:cNvSpPr>
          <p:nvPr>
            <p:ph type="title"/>
          </p:nvPr>
        </p:nvSpPr>
        <p:spPr>
          <a:xfrm>
            <a:off x="406931" y="1316057"/>
            <a:ext cx="4873625" cy="1585913"/>
          </a:xfrm>
          <a:prstGeom prst="rect">
            <a:avLst/>
          </a:prstGeom>
        </p:spPr>
        <p:txBody>
          <a:bodyPr vert="horz" wrap="square" lIns="91440" tIns="45720" rIns="91440" bIns="45720" rtlCol="0" anchor="ctr" anchorCtr="0">
            <a:noAutofit/>
          </a:bodyPr>
          <a:lstStyle>
            <a:lvl1pPr marL="0" indent="0" algn="l">
              <a:lnSpc>
                <a:spcPct val="90000"/>
              </a:lnSpc>
              <a:spcBef>
                <a:spcPct val="0"/>
              </a:spcBef>
              <a:spcAft>
                <a:spcPts val="0"/>
              </a:spcAft>
              <a:buFontTx/>
              <a:buNone/>
              <a:defRPr lang="en-US" sz="3600" b="1" i="0">
                <a:solidFill>
                  <a:srgbClr val="294158"/>
                </a:solidFill>
                <a:latin typeface="EYInterstate Light"/>
                <a:cs typeface="Times New Roman"/>
              </a:defRPr>
            </a:lvl1pPr>
          </a:lstStyle>
          <a:p>
            <a:pPr lvl="0"/>
            <a:r>
              <a:rPr lang="en-US"/>
              <a:t>Click to edit Master title style</a:t>
            </a:r>
          </a:p>
        </p:txBody>
      </p:sp>
    </p:spTree>
    <p:extLst>
      <p:ext uri="{BB962C8B-B14F-4D97-AF65-F5344CB8AC3E}">
        <p14:creationId xmlns:p14="http://schemas.microsoft.com/office/powerpoint/2010/main" val="18800726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3C5C76-F3C9-40CF-B5B1-607F22CBCBD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6DDC8F6-616D-41FE-8F69-E6C6141A46F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7859000-4FC6-4EC6-B5D1-28B2CF8BEE94}"/>
              </a:ext>
            </a:extLst>
          </p:cNvPr>
          <p:cNvSpPr>
            <a:spLocks noGrp="1"/>
          </p:cNvSpPr>
          <p:nvPr>
            <p:ph type="dt" sz="half" idx="10"/>
          </p:nvPr>
        </p:nvSpPr>
        <p:spPr/>
        <p:txBody>
          <a:bodyPr/>
          <a:lstStyle/>
          <a:p>
            <a:fld id="{82B8FF39-08A2-40A3-894E-8A1D692AB169}" type="datetimeFigureOut">
              <a:rPr lang="en-US" smtClean="0"/>
              <a:t>2/1/2021</a:t>
            </a:fld>
            <a:endParaRPr lang="en-US"/>
          </a:p>
        </p:txBody>
      </p:sp>
      <p:sp>
        <p:nvSpPr>
          <p:cNvPr id="5" name="Footer Placeholder 4">
            <a:extLst>
              <a:ext uri="{FF2B5EF4-FFF2-40B4-BE49-F238E27FC236}">
                <a16:creationId xmlns:a16="http://schemas.microsoft.com/office/drawing/2014/main" id="{6F962C41-9694-431C-9BC7-69E31375B5F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EF56C27-7D6B-49F1-8A5F-7B8410D75E6A}"/>
              </a:ext>
            </a:extLst>
          </p:cNvPr>
          <p:cNvSpPr>
            <a:spLocks noGrp="1"/>
          </p:cNvSpPr>
          <p:nvPr>
            <p:ph type="sldNum" sz="quarter" idx="12"/>
          </p:nvPr>
        </p:nvSpPr>
        <p:spPr/>
        <p:txBody>
          <a:bodyPr/>
          <a:lstStyle/>
          <a:p>
            <a:fld id="{70ACE8E8-32F1-407B-9631-B42BD3CB494A}" type="slidenum">
              <a:rPr lang="en-US" smtClean="0"/>
              <a:t>‹#›</a:t>
            </a:fld>
            <a:endParaRPr lang="en-US"/>
          </a:p>
        </p:txBody>
      </p:sp>
    </p:spTree>
    <p:extLst>
      <p:ext uri="{BB962C8B-B14F-4D97-AF65-F5344CB8AC3E}">
        <p14:creationId xmlns:p14="http://schemas.microsoft.com/office/powerpoint/2010/main" val="27815737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pic>
        <p:nvPicPr>
          <p:cNvPr id="3" name="Picture 2">
            <a:extLst>
              <a:ext uri="{FF2B5EF4-FFF2-40B4-BE49-F238E27FC236}">
                <a16:creationId xmlns:a16="http://schemas.microsoft.com/office/drawing/2014/main" id="{9EA11BB6-3304-4786-97E7-A56B9BEDB577}"/>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
        <p:nvSpPr>
          <p:cNvPr id="4" name="Title 8">
            <a:extLst>
              <a:ext uri="{FF2B5EF4-FFF2-40B4-BE49-F238E27FC236}">
                <a16:creationId xmlns:a16="http://schemas.microsoft.com/office/drawing/2014/main" id="{BBFD8B02-5ABB-4440-8134-FB99935F278B}"/>
              </a:ext>
            </a:extLst>
          </p:cNvPr>
          <p:cNvSpPr>
            <a:spLocks noGrp="1"/>
          </p:cNvSpPr>
          <p:nvPr>
            <p:ph type="title"/>
          </p:nvPr>
        </p:nvSpPr>
        <p:spPr>
          <a:xfrm>
            <a:off x="253934" y="16009"/>
            <a:ext cx="11474771" cy="719052"/>
          </a:xfrm>
          <a:prstGeom prst="rect">
            <a:avLst/>
          </a:prstGeom>
        </p:spPr>
        <p:txBody>
          <a:bodyPr vert="horz" wrap="square" lIns="91440" tIns="45720" rIns="91440" bIns="45720" rtlCol="0" anchor="ctr" anchorCtr="0">
            <a:noAutofit/>
          </a:bodyPr>
          <a:lstStyle>
            <a:lvl1pPr marL="0" indent="0" algn="l">
              <a:lnSpc>
                <a:spcPct val="100000"/>
              </a:lnSpc>
              <a:spcBef>
                <a:spcPct val="0"/>
              </a:spcBef>
              <a:spcAft>
                <a:spcPts val="0"/>
              </a:spcAft>
              <a:buFontTx/>
              <a:buNone/>
              <a:defRPr lang="en-US" sz="2000" b="1" i="0" dirty="0">
                <a:ln w="0">
                  <a:noFill/>
                </a:ln>
                <a:solidFill>
                  <a:srgbClr val="000000"/>
                </a:solidFill>
                <a:latin typeface="EYInterstate"/>
                <a:cs typeface="Arial"/>
              </a:defRPr>
            </a:lvl1pPr>
          </a:lstStyle>
          <a:p>
            <a:pPr marL="0" lvl="0" defTabSz="457200"/>
            <a:r>
              <a:rPr lang="en-US"/>
              <a:t>Click to edit Master title style</a:t>
            </a:r>
          </a:p>
        </p:txBody>
      </p:sp>
      <p:sp>
        <p:nvSpPr>
          <p:cNvPr id="6" name="Text Placeholder 10">
            <a:extLst>
              <a:ext uri="{FF2B5EF4-FFF2-40B4-BE49-F238E27FC236}">
                <a16:creationId xmlns:a16="http://schemas.microsoft.com/office/drawing/2014/main" id="{4E3743DB-0EE0-402D-BAAC-B442ECB111EC}"/>
              </a:ext>
            </a:extLst>
          </p:cNvPr>
          <p:cNvSpPr>
            <a:spLocks noGrp="1"/>
          </p:cNvSpPr>
          <p:nvPr>
            <p:ph type="body" sz="quarter" idx="10"/>
          </p:nvPr>
        </p:nvSpPr>
        <p:spPr>
          <a:xfrm>
            <a:off x="356921" y="878820"/>
            <a:ext cx="11371784" cy="3598999"/>
          </a:xfrm>
          <a:prstGeom prst="rect">
            <a:avLst/>
          </a:prstGeom>
        </p:spPr>
        <p:txBody>
          <a:bodyPr vert="horz" wrap="square" lIns="0" tIns="12700" rIns="0" bIns="0" rtlCol="0" anchor="t" anchorCtr="0">
            <a:noAutofit/>
          </a:bodyPr>
          <a:lstStyle>
            <a:lvl1pPr marL="0" indent="0" algn="l">
              <a:lnSpc>
                <a:spcPct val="100000"/>
              </a:lnSpc>
              <a:spcBef>
                <a:spcPts val="0"/>
              </a:spcBef>
              <a:spcAft>
                <a:spcPts val="600"/>
              </a:spcAft>
              <a:buFontTx/>
              <a:buNone/>
              <a:defRPr lang="en-US" sz="1600" b="0" i="0" smtClean="0">
                <a:solidFill>
                  <a:srgbClr val="000000"/>
                </a:solidFill>
                <a:latin typeface="EYInterstate"/>
              </a:defRPr>
            </a:lvl1pPr>
            <a:lvl2pPr marL="228600" indent="0">
              <a:buNone/>
              <a:defRPr lang="en-US" sz="1800" smtClean="0"/>
            </a:lvl2pPr>
            <a:lvl3pPr>
              <a:defRPr lang="en-US" sz="1800" smtClean="0"/>
            </a:lvl3pPr>
            <a:lvl4pPr>
              <a:defRPr lang="en-US" smtClean="0"/>
            </a:lvl4pPr>
            <a:lvl5pPr>
              <a:defRPr lang="en-US"/>
            </a:lvl5pPr>
          </a:lstStyle>
          <a:p>
            <a:pPr marL="12065" marR="5080" lvl="0" defTabSz="457200">
              <a:spcAft>
                <a:spcPts val="600"/>
              </a:spcAft>
              <a:tabLst>
                <a:tab pos="241300" algn="l"/>
              </a:tabLst>
            </a:pPr>
            <a:r>
              <a:rPr lang="en-US"/>
              <a:t>Click to edit Master text styles</a:t>
            </a:r>
          </a:p>
        </p:txBody>
      </p:sp>
      <p:cxnSp>
        <p:nvCxnSpPr>
          <p:cNvPr id="7" name="Straight Arrow Connector 6">
            <a:extLst>
              <a:ext uri="{FF2B5EF4-FFF2-40B4-BE49-F238E27FC236}">
                <a16:creationId xmlns:a16="http://schemas.microsoft.com/office/drawing/2014/main" id="{88837183-B8A1-4AFA-BDD9-6D8D203312AE}"/>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12317036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pic>
        <p:nvPicPr>
          <p:cNvPr id="3" name="Picture 2">
            <a:extLst>
              <a:ext uri="{FF2B5EF4-FFF2-40B4-BE49-F238E27FC236}">
                <a16:creationId xmlns:a16="http://schemas.microsoft.com/office/drawing/2014/main" id="{9EA11BB6-3304-4786-97E7-A56B9BEDB577}"/>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
        <p:nvSpPr>
          <p:cNvPr id="4" name="Title 8">
            <a:extLst>
              <a:ext uri="{FF2B5EF4-FFF2-40B4-BE49-F238E27FC236}">
                <a16:creationId xmlns:a16="http://schemas.microsoft.com/office/drawing/2014/main" id="{BBFD8B02-5ABB-4440-8134-FB99935F278B}"/>
              </a:ext>
            </a:extLst>
          </p:cNvPr>
          <p:cNvSpPr>
            <a:spLocks noGrp="1"/>
          </p:cNvSpPr>
          <p:nvPr>
            <p:ph type="title"/>
          </p:nvPr>
        </p:nvSpPr>
        <p:spPr>
          <a:xfrm>
            <a:off x="253934" y="16009"/>
            <a:ext cx="11474771" cy="719052"/>
          </a:xfrm>
          <a:prstGeom prst="rect">
            <a:avLst/>
          </a:prstGeom>
        </p:spPr>
        <p:txBody>
          <a:bodyPr vert="horz" wrap="square" lIns="91440" tIns="45720" rIns="91440" bIns="45720" rtlCol="0" anchor="ctr" anchorCtr="0">
            <a:noAutofit/>
          </a:bodyPr>
          <a:lstStyle>
            <a:lvl1pPr marL="0" indent="0" algn="l">
              <a:lnSpc>
                <a:spcPct val="100000"/>
              </a:lnSpc>
              <a:spcBef>
                <a:spcPct val="0"/>
              </a:spcBef>
              <a:spcAft>
                <a:spcPts val="0"/>
              </a:spcAft>
              <a:buFontTx/>
              <a:buNone/>
              <a:defRPr lang="en-US" sz="2000" b="1" i="0" dirty="0">
                <a:ln w="0">
                  <a:noFill/>
                </a:ln>
                <a:solidFill>
                  <a:srgbClr val="000000"/>
                </a:solidFill>
                <a:latin typeface="EYInterstate"/>
                <a:cs typeface="Arial"/>
              </a:defRPr>
            </a:lvl1pPr>
          </a:lstStyle>
          <a:p>
            <a:pPr marL="0" lvl="0" defTabSz="457200"/>
            <a:r>
              <a:rPr lang="en-US"/>
              <a:t>Click to edit Master title style</a:t>
            </a:r>
          </a:p>
        </p:txBody>
      </p:sp>
      <p:cxnSp>
        <p:nvCxnSpPr>
          <p:cNvPr id="7" name="Straight Arrow Connector 6">
            <a:extLst>
              <a:ext uri="{FF2B5EF4-FFF2-40B4-BE49-F238E27FC236}">
                <a16:creationId xmlns:a16="http://schemas.microsoft.com/office/drawing/2014/main" id="{88837183-B8A1-4AFA-BDD9-6D8D203312AE}"/>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24699980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1_">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pic>
        <p:nvPicPr>
          <p:cNvPr id="3" name="Picture 2">
            <a:extLst>
              <a:ext uri="{FF2B5EF4-FFF2-40B4-BE49-F238E27FC236}">
                <a16:creationId xmlns:a16="http://schemas.microsoft.com/office/drawing/2014/main" id="{9EA11BB6-3304-4786-97E7-A56B9BEDB577}"/>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
        <p:nvSpPr>
          <p:cNvPr id="8" name="Rectangle 7">
            <a:extLst>
              <a:ext uri="{FF2B5EF4-FFF2-40B4-BE49-F238E27FC236}">
                <a16:creationId xmlns:a16="http://schemas.microsoft.com/office/drawing/2014/main" id="{02DD0243-E01C-44C4-A0DB-7A16FB3C72EA}"/>
              </a:ext>
            </a:extLst>
          </p:cNvPr>
          <p:cNvSpPr/>
          <p:nvPr userDrawn="1"/>
        </p:nvSpPr>
        <p:spPr>
          <a:xfrm>
            <a:off x="0" y="-1"/>
            <a:ext cx="12192000" cy="6115050"/>
          </a:xfrm>
          <a:prstGeom prst="rect">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EYInterstate" panose="02000503020000020004" pitchFamily="2" charset="0"/>
              <a:ea typeface="+mn-ea"/>
              <a:cs typeface="+mn-cs"/>
            </a:endParaRPr>
          </a:p>
        </p:txBody>
      </p:sp>
      <p:sp>
        <p:nvSpPr>
          <p:cNvPr id="9" name="Title 8">
            <a:extLst>
              <a:ext uri="{FF2B5EF4-FFF2-40B4-BE49-F238E27FC236}">
                <a16:creationId xmlns:a16="http://schemas.microsoft.com/office/drawing/2014/main" id="{C6E52AB2-C503-45BB-896A-3291700FDF2E}"/>
              </a:ext>
            </a:extLst>
          </p:cNvPr>
          <p:cNvSpPr>
            <a:spLocks noGrp="1"/>
          </p:cNvSpPr>
          <p:nvPr>
            <p:ph type="title"/>
          </p:nvPr>
        </p:nvSpPr>
        <p:spPr>
          <a:xfrm>
            <a:off x="864523" y="2734358"/>
            <a:ext cx="8261108" cy="646331"/>
          </a:xfrm>
          <a:prstGeom prst="rect">
            <a:avLst/>
          </a:prstGeom>
          <a:noFill/>
        </p:spPr>
        <p:txBody>
          <a:bodyPr wrap="none" lIns="91440" tIns="45720" rIns="91440" bIns="45720" rtlCol="0" anchor="t" anchorCtr="0">
            <a:noAutofit/>
          </a:bodyPr>
          <a:lstStyle>
            <a:lvl1pPr marL="0" indent="0" algn="l">
              <a:lnSpc>
                <a:spcPct val="100000"/>
              </a:lnSpc>
              <a:spcBef>
                <a:spcPct val="0"/>
              </a:spcBef>
              <a:spcAft>
                <a:spcPts val="0"/>
              </a:spcAft>
              <a:buFontTx/>
              <a:buNone/>
              <a:defRPr lang="en-US" sz="3600" b="1" i="0" dirty="0">
                <a:solidFill>
                  <a:srgbClr val="FFFFFF"/>
                </a:solidFill>
                <a:latin typeface="EYInterstate" panose="02000503020000020004"/>
                <a:ea typeface="+mn-ea"/>
                <a:cs typeface="+mn-cs"/>
              </a:defRPr>
            </a:lvl1pPr>
          </a:lstStyle>
          <a:p>
            <a:pPr marL="0" lvl="0"/>
            <a:r>
              <a:rPr lang="en-US"/>
              <a:t>Click to edit Master title style</a:t>
            </a:r>
          </a:p>
        </p:txBody>
      </p:sp>
      <p:sp>
        <p:nvSpPr>
          <p:cNvPr id="10" name="Text Placeholder 10">
            <a:extLst>
              <a:ext uri="{FF2B5EF4-FFF2-40B4-BE49-F238E27FC236}">
                <a16:creationId xmlns:a16="http://schemas.microsoft.com/office/drawing/2014/main" id="{3E8B990D-35F8-489F-AB5F-508BF94971CA}"/>
              </a:ext>
            </a:extLst>
          </p:cNvPr>
          <p:cNvSpPr>
            <a:spLocks noGrp="1"/>
          </p:cNvSpPr>
          <p:nvPr>
            <p:ph type="body" sz="quarter" idx="10"/>
          </p:nvPr>
        </p:nvSpPr>
        <p:spPr>
          <a:xfrm>
            <a:off x="864523" y="3429000"/>
            <a:ext cx="8261108" cy="954107"/>
          </a:xfrm>
          <a:prstGeom prst="rect">
            <a:avLst/>
          </a:prstGeom>
          <a:noFill/>
        </p:spPr>
        <p:txBody>
          <a:bodyPr wrap="square" lIns="91440" tIns="45720" rIns="91440" bIns="45720" rtlCol="0" anchor="t" anchorCtr="0">
            <a:noAutofit/>
          </a:bodyPr>
          <a:lstStyle>
            <a:lvl1pPr marL="0" indent="0" algn="l">
              <a:lnSpc>
                <a:spcPct val="100000"/>
              </a:lnSpc>
              <a:spcBef>
                <a:spcPts val="0"/>
              </a:spcBef>
              <a:spcAft>
                <a:spcPts val="0"/>
              </a:spcAft>
              <a:buFontTx/>
              <a:buNone/>
              <a:defRPr lang="en-US" sz="2800" b="0" i="0" dirty="0" smtClean="0">
                <a:solidFill>
                  <a:srgbClr val="FFFFFF"/>
                </a:solidFill>
                <a:latin typeface="EYInterstate" panose="02000503020000020004"/>
              </a:defRPr>
            </a:lvl1pPr>
          </a:lstStyle>
          <a:p>
            <a:pPr marL="0" lvl="0"/>
            <a:r>
              <a:rPr lang="en-US"/>
              <a:t>Click to edit Master text styles</a:t>
            </a:r>
          </a:p>
        </p:txBody>
      </p:sp>
    </p:spTree>
    <p:extLst>
      <p:ext uri="{BB962C8B-B14F-4D97-AF65-F5344CB8AC3E}">
        <p14:creationId xmlns:p14="http://schemas.microsoft.com/office/powerpoint/2010/main" val="35502180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x" preserve="1">
  <p:cSld name="2_1_">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pic>
        <p:nvPicPr>
          <p:cNvPr id="3" name="Picture 2">
            <a:extLst>
              <a:ext uri="{FF2B5EF4-FFF2-40B4-BE49-F238E27FC236}">
                <a16:creationId xmlns:a16="http://schemas.microsoft.com/office/drawing/2014/main" id="{9EA11BB6-3304-4786-97E7-A56B9BEDB577}"/>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Tree>
    <p:extLst>
      <p:ext uri="{BB962C8B-B14F-4D97-AF65-F5344CB8AC3E}">
        <p14:creationId xmlns:p14="http://schemas.microsoft.com/office/powerpoint/2010/main" val="26015716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1_">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pic>
        <p:nvPicPr>
          <p:cNvPr id="3" name="Picture 2">
            <a:extLst>
              <a:ext uri="{FF2B5EF4-FFF2-40B4-BE49-F238E27FC236}">
                <a16:creationId xmlns:a16="http://schemas.microsoft.com/office/drawing/2014/main" id="{9EA11BB6-3304-4786-97E7-A56B9BEDB577}"/>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Tree>
    <p:extLst>
      <p:ext uri="{BB962C8B-B14F-4D97-AF65-F5344CB8AC3E}">
        <p14:creationId xmlns:p14="http://schemas.microsoft.com/office/powerpoint/2010/main" val="13883914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9DCF58-8F9B-4880-86FC-330752F632C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79F0E41-7DCD-4F64-9BCA-639A5A8D6AB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7982EC6-47C6-4409-AB54-90CB153D365C}"/>
              </a:ext>
            </a:extLst>
          </p:cNvPr>
          <p:cNvSpPr>
            <a:spLocks noGrp="1"/>
          </p:cNvSpPr>
          <p:nvPr>
            <p:ph type="dt" sz="half" idx="10"/>
          </p:nvPr>
        </p:nvSpPr>
        <p:spPr/>
        <p:txBody>
          <a:bodyPr/>
          <a:lstStyle/>
          <a:p>
            <a:fld id="{82B8FF39-08A2-40A3-894E-8A1D692AB169}" type="datetimeFigureOut">
              <a:rPr lang="en-US" smtClean="0"/>
              <a:t>2/1/2021</a:t>
            </a:fld>
            <a:endParaRPr lang="en-US"/>
          </a:p>
        </p:txBody>
      </p:sp>
      <p:sp>
        <p:nvSpPr>
          <p:cNvPr id="5" name="Footer Placeholder 4">
            <a:extLst>
              <a:ext uri="{FF2B5EF4-FFF2-40B4-BE49-F238E27FC236}">
                <a16:creationId xmlns:a16="http://schemas.microsoft.com/office/drawing/2014/main" id="{F6CA19C3-97C1-4E1B-B771-75EA24A0C1E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69A1FA4-7F6A-4669-BB42-4216F2069A81}"/>
              </a:ext>
            </a:extLst>
          </p:cNvPr>
          <p:cNvSpPr>
            <a:spLocks noGrp="1"/>
          </p:cNvSpPr>
          <p:nvPr>
            <p:ph type="sldNum" sz="quarter" idx="12"/>
          </p:nvPr>
        </p:nvSpPr>
        <p:spPr/>
        <p:txBody>
          <a:bodyPr/>
          <a:lstStyle/>
          <a:p>
            <a:fld id="{70ACE8E8-32F1-407B-9631-B42BD3CB494A}" type="slidenum">
              <a:rPr lang="en-US" smtClean="0"/>
              <a:t>‹#›</a:t>
            </a:fld>
            <a:endParaRPr lang="en-US"/>
          </a:p>
        </p:txBody>
      </p:sp>
    </p:spTree>
    <p:extLst>
      <p:ext uri="{BB962C8B-B14F-4D97-AF65-F5344CB8AC3E}">
        <p14:creationId xmlns:p14="http://schemas.microsoft.com/office/powerpoint/2010/main" val="21162956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022AC2-C766-422A-AD95-E8B37A60462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23370F7-85D7-4D1E-93E5-DEBBE316CD1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EFCBE6B-90C0-4385-85E6-F3F88B5DC0B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7CFD67A-5CF4-4533-BAE8-80980549CD2A}"/>
              </a:ext>
            </a:extLst>
          </p:cNvPr>
          <p:cNvSpPr>
            <a:spLocks noGrp="1"/>
          </p:cNvSpPr>
          <p:nvPr>
            <p:ph type="dt" sz="half" idx="10"/>
          </p:nvPr>
        </p:nvSpPr>
        <p:spPr/>
        <p:txBody>
          <a:bodyPr/>
          <a:lstStyle/>
          <a:p>
            <a:fld id="{82B8FF39-08A2-40A3-894E-8A1D692AB169}" type="datetimeFigureOut">
              <a:rPr lang="en-US" smtClean="0"/>
              <a:t>2/1/2021</a:t>
            </a:fld>
            <a:endParaRPr lang="en-US"/>
          </a:p>
        </p:txBody>
      </p:sp>
      <p:sp>
        <p:nvSpPr>
          <p:cNvPr id="6" name="Footer Placeholder 5">
            <a:extLst>
              <a:ext uri="{FF2B5EF4-FFF2-40B4-BE49-F238E27FC236}">
                <a16:creationId xmlns:a16="http://schemas.microsoft.com/office/drawing/2014/main" id="{FDB635F8-E374-42FE-8E20-E3D7BA662EE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69ADAE1-758E-4146-9351-2CF133493181}"/>
              </a:ext>
            </a:extLst>
          </p:cNvPr>
          <p:cNvSpPr>
            <a:spLocks noGrp="1"/>
          </p:cNvSpPr>
          <p:nvPr>
            <p:ph type="sldNum" sz="quarter" idx="12"/>
          </p:nvPr>
        </p:nvSpPr>
        <p:spPr/>
        <p:txBody>
          <a:bodyPr/>
          <a:lstStyle/>
          <a:p>
            <a:fld id="{70ACE8E8-32F1-407B-9631-B42BD3CB494A}" type="slidenum">
              <a:rPr lang="en-US" smtClean="0"/>
              <a:t>‹#›</a:t>
            </a:fld>
            <a:endParaRPr lang="en-US"/>
          </a:p>
        </p:txBody>
      </p:sp>
    </p:spTree>
    <p:extLst>
      <p:ext uri="{BB962C8B-B14F-4D97-AF65-F5344CB8AC3E}">
        <p14:creationId xmlns:p14="http://schemas.microsoft.com/office/powerpoint/2010/main" val="15239550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F74D49-3686-4964-A199-0B12D1EEDAB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28BD3F2-F77E-416F-A197-5A15AD45E97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7877B4B-2D5D-4255-B306-43F23DB93E2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5CA5F0B-FB3A-4F7D-850D-2B309749221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63960CE-6B4F-4C8B-9F7D-AF7F3456C84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4469CCC-73FD-489F-857F-F4000E7F1F95}"/>
              </a:ext>
            </a:extLst>
          </p:cNvPr>
          <p:cNvSpPr>
            <a:spLocks noGrp="1"/>
          </p:cNvSpPr>
          <p:nvPr>
            <p:ph type="dt" sz="half" idx="10"/>
          </p:nvPr>
        </p:nvSpPr>
        <p:spPr/>
        <p:txBody>
          <a:bodyPr/>
          <a:lstStyle/>
          <a:p>
            <a:fld id="{82B8FF39-08A2-40A3-894E-8A1D692AB169}" type="datetimeFigureOut">
              <a:rPr lang="en-US" smtClean="0"/>
              <a:t>2/1/2021</a:t>
            </a:fld>
            <a:endParaRPr lang="en-US"/>
          </a:p>
        </p:txBody>
      </p:sp>
      <p:sp>
        <p:nvSpPr>
          <p:cNvPr id="8" name="Footer Placeholder 7">
            <a:extLst>
              <a:ext uri="{FF2B5EF4-FFF2-40B4-BE49-F238E27FC236}">
                <a16:creationId xmlns:a16="http://schemas.microsoft.com/office/drawing/2014/main" id="{0262691E-ECB0-4621-B4F0-59634268B28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185E819-D132-4663-AA37-262B1BE344BC}"/>
              </a:ext>
            </a:extLst>
          </p:cNvPr>
          <p:cNvSpPr>
            <a:spLocks noGrp="1"/>
          </p:cNvSpPr>
          <p:nvPr>
            <p:ph type="sldNum" sz="quarter" idx="12"/>
          </p:nvPr>
        </p:nvSpPr>
        <p:spPr/>
        <p:txBody>
          <a:bodyPr/>
          <a:lstStyle/>
          <a:p>
            <a:fld id="{70ACE8E8-32F1-407B-9631-B42BD3CB494A}" type="slidenum">
              <a:rPr lang="en-US" smtClean="0"/>
              <a:t>‹#›</a:t>
            </a:fld>
            <a:endParaRPr lang="en-US"/>
          </a:p>
        </p:txBody>
      </p:sp>
    </p:spTree>
    <p:extLst>
      <p:ext uri="{BB962C8B-B14F-4D97-AF65-F5344CB8AC3E}">
        <p14:creationId xmlns:p14="http://schemas.microsoft.com/office/powerpoint/2010/main" val="17050631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CC337B-FE2D-4195-9EB2-786BAE19A9B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63426D8-4F21-430A-92D5-9465CB4254D9}"/>
              </a:ext>
            </a:extLst>
          </p:cNvPr>
          <p:cNvSpPr>
            <a:spLocks noGrp="1"/>
          </p:cNvSpPr>
          <p:nvPr>
            <p:ph type="dt" sz="half" idx="10"/>
          </p:nvPr>
        </p:nvSpPr>
        <p:spPr/>
        <p:txBody>
          <a:bodyPr/>
          <a:lstStyle/>
          <a:p>
            <a:fld id="{82B8FF39-08A2-40A3-894E-8A1D692AB169}" type="datetimeFigureOut">
              <a:rPr lang="en-US" smtClean="0"/>
              <a:t>2/1/2021</a:t>
            </a:fld>
            <a:endParaRPr lang="en-US"/>
          </a:p>
        </p:txBody>
      </p:sp>
      <p:sp>
        <p:nvSpPr>
          <p:cNvPr id="4" name="Footer Placeholder 3">
            <a:extLst>
              <a:ext uri="{FF2B5EF4-FFF2-40B4-BE49-F238E27FC236}">
                <a16:creationId xmlns:a16="http://schemas.microsoft.com/office/drawing/2014/main" id="{83F56972-E6E1-4BA9-8351-A17C11F90D1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048C84E-2C0A-4844-B624-57F9B7B23C25}"/>
              </a:ext>
            </a:extLst>
          </p:cNvPr>
          <p:cNvSpPr>
            <a:spLocks noGrp="1"/>
          </p:cNvSpPr>
          <p:nvPr>
            <p:ph type="sldNum" sz="quarter" idx="12"/>
          </p:nvPr>
        </p:nvSpPr>
        <p:spPr/>
        <p:txBody>
          <a:bodyPr/>
          <a:lstStyle/>
          <a:p>
            <a:fld id="{70ACE8E8-32F1-407B-9631-B42BD3CB494A}" type="slidenum">
              <a:rPr lang="en-US" smtClean="0"/>
              <a:t>‹#›</a:t>
            </a:fld>
            <a:endParaRPr lang="en-US"/>
          </a:p>
        </p:txBody>
      </p:sp>
    </p:spTree>
    <p:extLst>
      <p:ext uri="{BB962C8B-B14F-4D97-AF65-F5344CB8AC3E}">
        <p14:creationId xmlns:p14="http://schemas.microsoft.com/office/powerpoint/2010/main" val="31841079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3940124-3252-4512-B07F-49FE63D5F187}"/>
              </a:ext>
            </a:extLst>
          </p:cNvPr>
          <p:cNvSpPr>
            <a:spLocks noGrp="1"/>
          </p:cNvSpPr>
          <p:nvPr>
            <p:ph type="dt" sz="half" idx="10"/>
          </p:nvPr>
        </p:nvSpPr>
        <p:spPr/>
        <p:txBody>
          <a:bodyPr/>
          <a:lstStyle/>
          <a:p>
            <a:fld id="{82B8FF39-08A2-40A3-894E-8A1D692AB169}" type="datetimeFigureOut">
              <a:rPr lang="en-US" smtClean="0"/>
              <a:t>2/1/2021</a:t>
            </a:fld>
            <a:endParaRPr lang="en-US"/>
          </a:p>
        </p:txBody>
      </p:sp>
      <p:sp>
        <p:nvSpPr>
          <p:cNvPr id="3" name="Footer Placeholder 2">
            <a:extLst>
              <a:ext uri="{FF2B5EF4-FFF2-40B4-BE49-F238E27FC236}">
                <a16:creationId xmlns:a16="http://schemas.microsoft.com/office/drawing/2014/main" id="{3FA65688-3D9D-4696-9C81-300A8FA7D83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E23F992-FB7E-41C9-8F79-8036A42AA2A5}"/>
              </a:ext>
            </a:extLst>
          </p:cNvPr>
          <p:cNvSpPr>
            <a:spLocks noGrp="1"/>
          </p:cNvSpPr>
          <p:nvPr>
            <p:ph type="sldNum" sz="quarter" idx="12"/>
          </p:nvPr>
        </p:nvSpPr>
        <p:spPr/>
        <p:txBody>
          <a:bodyPr/>
          <a:lstStyle/>
          <a:p>
            <a:fld id="{70ACE8E8-32F1-407B-9631-B42BD3CB494A}" type="slidenum">
              <a:rPr lang="en-US" smtClean="0"/>
              <a:t>‹#›</a:t>
            </a:fld>
            <a:endParaRPr lang="en-US"/>
          </a:p>
        </p:txBody>
      </p:sp>
    </p:spTree>
    <p:extLst>
      <p:ext uri="{BB962C8B-B14F-4D97-AF65-F5344CB8AC3E}">
        <p14:creationId xmlns:p14="http://schemas.microsoft.com/office/powerpoint/2010/main" val="33871163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8C4F70-7044-4287-A8E6-39E572C28D5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4EE5537-2F26-4ABC-93BC-523901D2BCD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9CA88D9-9C3A-4B6E-9A23-575C78C5FC6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9EE97BC-5BA5-4A2F-9D3B-70F43815723C}"/>
              </a:ext>
            </a:extLst>
          </p:cNvPr>
          <p:cNvSpPr>
            <a:spLocks noGrp="1"/>
          </p:cNvSpPr>
          <p:nvPr>
            <p:ph type="dt" sz="half" idx="10"/>
          </p:nvPr>
        </p:nvSpPr>
        <p:spPr/>
        <p:txBody>
          <a:bodyPr/>
          <a:lstStyle/>
          <a:p>
            <a:fld id="{82B8FF39-08A2-40A3-894E-8A1D692AB169}" type="datetimeFigureOut">
              <a:rPr lang="en-US" smtClean="0"/>
              <a:t>2/1/2021</a:t>
            </a:fld>
            <a:endParaRPr lang="en-US"/>
          </a:p>
        </p:txBody>
      </p:sp>
      <p:sp>
        <p:nvSpPr>
          <p:cNvPr id="6" name="Footer Placeholder 5">
            <a:extLst>
              <a:ext uri="{FF2B5EF4-FFF2-40B4-BE49-F238E27FC236}">
                <a16:creationId xmlns:a16="http://schemas.microsoft.com/office/drawing/2014/main" id="{866A8A0A-AF4A-4843-97D8-FEA69CA6066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DCD8A18-435D-4159-AD20-03394F2E58D9}"/>
              </a:ext>
            </a:extLst>
          </p:cNvPr>
          <p:cNvSpPr>
            <a:spLocks noGrp="1"/>
          </p:cNvSpPr>
          <p:nvPr>
            <p:ph type="sldNum" sz="quarter" idx="12"/>
          </p:nvPr>
        </p:nvSpPr>
        <p:spPr/>
        <p:txBody>
          <a:bodyPr/>
          <a:lstStyle/>
          <a:p>
            <a:fld id="{70ACE8E8-32F1-407B-9631-B42BD3CB494A}" type="slidenum">
              <a:rPr lang="en-US" smtClean="0"/>
              <a:t>‹#›</a:t>
            </a:fld>
            <a:endParaRPr lang="en-US"/>
          </a:p>
        </p:txBody>
      </p:sp>
    </p:spTree>
    <p:extLst>
      <p:ext uri="{BB962C8B-B14F-4D97-AF65-F5344CB8AC3E}">
        <p14:creationId xmlns:p14="http://schemas.microsoft.com/office/powerpoint/2010/main" val="40306162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1BD1A1-487F-490B-9FDC-53ADA1B4689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D1EC706-1AFF-4B0F-9728-BBD53691288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51CB4D5-9263-4F8B-AC8A-9C3007E84BA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A9C710F-8EC8-478D-BBBD-F63A209E5543}"/>
              </a:ext>
            </a:extLst>
          </p:cNvPr>
          <p:cNvSpPr>
            <a:spLocks noGrp="1"/>
          </p:cNvSpPr>
          <p:nvPr>
            <p:ph type="dt" sz="half" idx="10"/>
          </p:nvPr>
        </p:nvSpPr>
        <p:spPr/>
        <p:txBody>
          <a:bodyPr/>
          <a:lstStyle/>
          <a:p>
            <a:fld id="{82B8FF39-08A2-40A3-894E-8A1D692AB169}" type="datetimeFigureOut">
              <a:rPr lang="en-US" smtClean="0"/>
              <a:t>2/1/2021</a:t>
            </a:fld>
            <a:endParaRPr lang="en-US"/>
          </a:p>
        </p:txBody>
      </p:sp>
      <p:sp>
        <p:nvSpPr>
          <p:cNvPr id="6" name="Footer Placeholder 5">
            <a:extLst>
              <a:ext uri="{FF2B5EF4-FFF2-40B4-BE49-F238E27FC236}">
                <a16:creationId xmlns:a16="http://schemas.microsoft.com/office/drawing/2014/main" id="{23F71E70-4DAD-43BB-A4B8-B8740883966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B422959-2B43-4FDA-8DF5-CB9DEBE61876}"/>
              </a:ext>
            </a:extLst>
          </p:cNvPr>
          <p:cNvSpPr>
            <a:spLocks noGrp="1"/>
          </p:cNvSpPr>
          <p:nvPr>
            <p:ph type="sldNum" sz="quarter" idx="12"/>
          </p:nvPr>
        </p:nvSpPr>
        <p:spPr/>
        <p:txBody>
          <a:bodyPr/>
          <a:lstStyle/>
          <a:p>
            <a:fld id="{70ACE8E8-32F1-407B-9631-B42BD3CB494A}" type="slidenum">
              <a:rPr lang="en-US" smtClean="0"/>
              <a:t>‹#›</a:t>
            </a:fld>
            <a:endParaRPr lang="en-US"/>
          </a:p>
        </p:txBody>
      </p:sp>
    </p:spTree>
    <p:extLst>
      <p:ext uri="{BB962C8B-B14F-4D97-AF65-F5344CB8AC3E}">
        <p14:creationId xmlns:p14="http://schemas.microsoft.com/office/powerpoint/2010/main" val="26348242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microsoft.com/office/2007/relationships/hdphoto" Target="../media/hdphoto1.wdp"/><Relationship Id="rId5" Type="http://schemas.openxmlformats.org/officeDocument/2006/relationships/slideLayout" Target="../slideLayouts/slideLayout21.xml"/><Relationship Id="rId10" Type="http://schemas.openxmlformats.org/officeDocument/2006/relationships/image" Target="../media/image4.png"/><Relationship Id="rId4" Type="http://schemas.openxmlformats.org/officeDocument/2006/relationships/slideLayout" Target="../slideLayouts/slideLayout20.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05613AD-ABD0-406C-A528-74B6398CF8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E39B517-A82C-4E59-8376-6F14F16835C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1502822-6B57-4C38-98BC-46F4E7493A9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2B8FF39-08A2-40A3-894E-8A1D692AB169}" type="datetimeFigureOut">
              <a:rPr lang="en-US" smtClean="0"/>
              <a:t>2/1/2021</a:t>
            </a:fld>
            <a:endParaRPr lang="en-US"/>
          </a:p>
        </p:txBody>
      </p:sp>
      <p:sp>
        <p:nvSpPr>
          <p:cNvPr id="5" name="Footer Placeholder 4">
            <a:extLst>
              <a:ext uri="{FF2B5EF4-FFF2-40B4-BE49-F238E27FC236}">
                <a16:creationId xmlns:a16="http://schemas.microsoft.com/office/drawing/2014/main" id="{4381CB59-F370-49E9-BDD3-55B93A4B267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089641D-B8A7-4544-A29F-25D94755A3F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0ACE8E8-32F1-407B-9631-B42BD3CB494A}" type="slidenum">
              <a:rPr lang="en-US" smtClean="0"/>
              <a:t>‹#›</a:t>
            </a:fld>
            <a:endParaRPr lang="en-US"/>
          </a:p>
        </p:txBody>
      </p:sp>
    </p:spTree>
    <p:extLst>
      <p:ext uri="{BB962C8B-B14F-4D97-AF65-F5344CB8AC3E}">
        <p14:creationId xmlns:p14="http://schemas.microsoft.com/office/powerpoint/2010/main" val="169977790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23D1E28-842D-48A5-BD87-D7F26FFC1AF3}"/>
              </a:ext>
            </a:extLst>
          </p:cNvPr>
          <p:cNvPicPr>
            <a:picLocks noChangeAspect="1"/>
          </p:cNvPicPr>
          <p:nvPr userDrawn="1"/>
        </p:nvPicPr>
        <p:blipFill>
          <a:blip r:embed="rId10" cstate="print">
            <a:extLst>
              <a:ext uri="{BEBA8EAE-BF5A-486C-A8C5-ECC9F3942E4B}">
                <a14:imgProps xmlns:a14="http://schemas.microsoft.com/office/drawing/2010/main">
                  <a14:imgLayer r:embed="rId11">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
        <p:nvSpPr>
          <p:cNvPr id="8" name="Holder 6">
            <a:extLst>
              <a:ext uri="{FF2B5EF4-FFF2-40B4-BE49-F238E27FC236}">
                <a16:creationId xmlns:a16="http://schemas.microsoft.com/office/drawing/2014/main" id="{4910378C-EB16-4E86-8780-3EE9D517A147}"/>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spTree>
    <p:extLst>
      <p:ext uri="{BB962C8B-B14F-4D97-AF65-F5344CB8AC3E}">
        <p14:creationId xmlns:p14="http://schemas.microsoft.com/office/powerpoint/2010/main" val="1179793992"/>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18.png"/><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16.xml"/><Relationship Id="rId7" Type="http://schemas.openxmlformats.org/officeDocument/2006/relationships/hyperlink" Target="https://ncgov.servicenowservices.com/csm_vaccine" TargetMode="Externa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notesSlide" Target="../notesSlides/notesSlide10.xml"/><Relationship Id="rId9" Type="http://schemas.openxmlformats.org/officeDocument/2006/relationships/image" Target="../media/image20.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21.png"/><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22.png"/><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23.jpeg"/><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24.jpeg"/><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6.emf"/><Relationship Id="rId5" Type="http://schemas.openxmlformats.org/officeDocument/2006/relationships/oleObject" Target="../embeddings/oleObject13.bin"/><Relationship Id="rId4"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16.xml"/><Relationship Id="rId7" Type="http://schemas.openxmlformats.org/officeDocument/2006/relationships/hyperlink" Target="https://immunize.nc.gov/providers/ncip/training/(Organization%20Name)%20HCP%20(Date)_01_14_2021.xlsx" TargetMode="Externa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5.emf"/><Relationship Id="rId11" Type="http://schemas.openxmlformats.org/officeDocument/2006/relationships/image" Target="../media/image28.svg"/><Relationship Id="rId5" Type="http://schemas.openxmlformats.org/officeDocument/2006/relationships/oleObject" Target="../embeddings/oleObject7.bin"/><Relationship Id="rId10" Type="http://schemas.openxmlformats.org/officeDocument/2006/relationships/image" Target="../media/image27.png"/><Relationship Id="rId4" Type="http://schemas.openxmlformats.org/officeDocument/2006/relationships/notesSlide" Target="../notesSlides/notesSlide16.xml"/><Relationship Id="rId9" Type="http://schemas.openxmlformats.org/officeDocument/2006/relationships/image" Target="../media/image26.jpe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29.jpeg"/><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30.jpeg"/><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5.emf"/><Relationship Id="rId5" Type="http://schemas.openxmlformats.org/officeDocument/2006/relationships/oleObject" Target="../embeddings/oleObject14.bin"/><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16.xml"/><Relationship Id="rId7" Type="http://schemas.openxmlformats.org/officeDocument/2006/relationships/image" Target="../media/image30.jpeg"/><Relationship Id="rId2" Type="http://schemas.openxmlformats.org/officeDocument/2006/relationships/tags" Target="../tags/tag21.xml"/><Relationship Id="rId1" Type="http://schemas.openxmlformats.org/officeDocument/2006/relationships/vmlDrawing" Target="../drawings/vmlDrawing21.v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notesSlide" Target="../notesSlides/notesSlide19.xml"/><Relationship Id="rId9" Type="http://schemas.openxmlformats.org/officeDocument/2006/relationships/image" Target="../media/image28.sv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6.emf"/><Relationship Id="rId5" Type="http://schemas.openxmlformats.org/officeDocument/2006/relationships/oleObject" Target="../embeddings/oleObject13.bin"/><Relationship Id="rId4" Type="http://schemas.openxmlformats.org/officeDocument/2006/relationships/notesSlide" Target="../notesSlides/notesSlide20.xml"/></Relationships>
</file>

<file path=ppt/slides/_rels/slide22.xml.rels><?xml version="1.0" encoding="UTF-8" standalone="yes"?>
<Relationships xmlns="http://schemas.openxmlformats.org/package/2006/relationships"><Relationship Id="rId8" Type="http://schemas.openxmlformats.org/officeDocument/2006/relationships/hyperlink" Target="https://immunize.nc.gov/providers/covid-19training.htm" TargetMode="External"/><Relationship Id="rId3" Type="http://schemas.openxmlformats.org/officeDocument/2006/relationships/slideLayout" Target="../slideLayouts/slideLayout16.xml"/><Relationship Id="rId7" Type="http://schemas.openxmlformats.org/officeDocument/2006/relationships/hyperlink" Target="https://immunize.nc.gov/providers/ncip/training/CVMS%20Provider%20Portal%20Recipient%20Bulk%20Upload%20User%20Guide_v4_01_14_2021.pdf" TargetMode="External"/><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image" Target="../media/image5.emf"/><Relationship Id="rId11" Type="http://schemas.openxmlformats.org/officeDocument/2006/relationships/image" Target="../media/image32.png"/><Relationship Id="rId5" Type="http://schemas.openxmlformats.org/officeDocument/2006/relationships/oleObject" Target="../embeddings/oleObject7.bin"/><Relationship Id="rId10" Type="http://schemas.openxmlformats.org/officeDocument/2006/relationships/image" Target="../media/image31.jpeg"/><Relationship Id="rId4" Type="http://schemas.openxmlformats.org/officeDocument/2006/relationships/notesSlide" Target="../notesSlides/notesSlide21.xml"/><Relationship Id="rId9" Type="http://schemas.openxmlformats.org/officeDocument/2006/relationships/hyperlink" Target="https://immunize.nc.gov/providers/ncip/training/Recipient%20Bulk%20Upload%20File_01_13_2021.csv" TargetMode="Externa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29.jpeg"/><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notesSlide" Target="../notesSlides/notesSlide22.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30.jpeg"/><Relationship Id="rId2" Type="http://schemas.openxmlformats.org/officeDocument/2006/relationships/tags" Target="../tags/tag25.xml"/><Relationship Id="rId1" Type="http://schemas.openxmlformats.org/officeDocument/2006/relationships/vmlDrawing" Target="../drawings/vmlDrawing25.v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notesSlide" Target="../notesSlides/notesSlide23.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30.jpeg"/><Relationship Id="rId2" Type="http://schemas.openxmlformats.org/officeDocument/2006/relationships/tags" Target="../tags/tag26.xml"/><Relationship Id="rId1" Type="http://schemas.openxmlformats.org/officeDocument/2006/relationships/vmlDrawing" Target="../drawings/vmlDrawing26.v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notesSlide" Target="../notesSlides/notesSlide24.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7.xml"/><Relationship Id="rId1" Type="http://schemas.openxmlformats.org/officeDocument/2006/relationships/vmlDrawing" Target="../drawings/vmlDrawing27.vml"/><Relationship Id="rId6" Type="http://schemas.openxmlformats.org/officeDocument/2006/relationships/image" Target="../media/image6.emf"/><Relationship Id="rId5" Type="http://schemas.openxmlformats.org/officeDocument/2006/relationships/oleObject" Target="../embeddings/oleObject15.bin"/><Relationship Id="rId4" Type="http://schemas.openxmlformats.org/officeDocument/2006/relationships/notesSlide" Target="../notesSlides/notesSlide25.xml"/></Relationships>
</file>

<file path=ppt/slides/_rels/slide27.xml.rels><?xml version="1.0" encoding="UTF-8" standalone="yes"?>
<Relationships xmlns="http://schemas.openxmlformats.org/package/2006/relationships"><Relationship Id="rId8" Type="http://schemas.openxmlformats.org/officeDocument/2006/relationships/hyperlink" Target="https://help.salesforce.com/articleView?id=getstart_browsers_sfx.htm&amp;type=5" TargetMode="External"/><Relationship Id="rId3" Type="http://schemas.openxmlformats.org/officeDocument/2006/relationships/slideLayout" Target="../slideLayouts/slideLayout15.xml"/><Relationship Id="rId7" Type="http://schemas.openxmlformats.org/officeDocument/2006/relationships/hyperlink" Target="https://ncgov.servicenowservices.com/csm_vaccine?id=kb_home" TargetMode="External"/><Relationship Id="rId12" Type="http://schemas.openxmlformats.org/officeDocument/2006/relationships/image" Target="../media/image36.png"/><Relationship Id="rId2" Type="http://schemas.openxmlformats.org/officeDocument/2006/relationships/tags" Target="../tags/tag28.xml"/><Relationship Id="rId1" Type="http://schemas.openxmlformats.org/officeDocument/2006/relationships/vmlDrawing" Target="../drawings/vmlDrawing28.vml"/><Relationship Id="rId6" Type="http://schemas.openxmlformats.org/officeDocument/2006/relationships/image" Target="../media/image5.emf"/><Relationship Id="rId11" Type="http://schemas.openxmlformats.org/officeDocument/2006/relationships/image" Target="../media/image35.png"/><Relationship Id="rId5" Type="http://schemas.openxmlformats.org/officeDocument/2006/relationships/oleObject" Target="../embeddings/oleObject7.bin"/><Relationship Id="rId10" Type="http://schemas.openxmlformats.org/officeDocument/2006/relationships/image" Target="../media/image34.png"/><Relationship Id="rId4" Type="http://schemas.openxmlformats.org/officeDocument/2006/relationships/notesSlide" Target="../notesSlides/notesSlide26.xml"/><Relationship Id="rId9" Type="http://schemas.openxmlformats.org/officeDocument/2006/relationships/image" Target="../media/image33.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8.svg"/><Relationship Id="rId7" Type="http://schemas.openxmlformats.org/officeDocument/2006/relationships/hyperlink" Target="https://immunize.nc.gov/providers/ncip/training/CVMS%20Provider%20Portal%20Recipient%20Bulk%20Upload%20User%20Guide_v4_01_14_2021.pdf" TargetMode="External"/><Relationship Id="rId2" Type="http://schemas.openxmlformats.org/officeDocument/2006/relationships/image" Target="../media/image7.png"/><Relationship Id="rId1" Type="http://schemas.openxmlformats.org/officeDocument/2006/relationships/slideLayout" Target="../slideLayouts/slideLayout13.xml"/><Relationship Id="rId6" Type="http://schemas.openxmlformats.org/officeDocument/2006/relationships/hyperlink" Target="https://ncgov.servicenowservices.com/csm_vaccine" TargetMode="External"/><Relationship Id="rId11" Type="http://schemas.openxmlformats.org/officeDocument/2006/relationships/image" Target="../media/image14.svg"/><Relationship Id="rId5" Type="http://schemas.openxmlformats.org/officeDocument/2006/relationships/image" Target="../media/image10.svg"/><Relationship Id="rId10" Type="http://schemas.openxmlformats.org/officeDocument/2006/relationships/image" Target="../media/image13.png"/><Relationship Id="rId4" Type="http://schemas.openxmlformats.org/officeDocument/2006/relationships/image" Target="../media/image9.png"/><Relationship Id="rId9" Type="http://schemas.openxmlformats.org/officeDocument/2006/relationships/image" Target="../media/image12.sv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8" Type="http://schemas.openxmlformats.org/officeDocument/2006/relationships/image" Target="../media/image15.jpg"/><Relationship Id="rId3" Type="http://schemas.openxmlformats.org/officeDocument/2006/relationships/slideLayout" Target="../slideLayouts/slideLayout16.xml"/><Relationship Id="rId7" Type="http://schemas.openxmlformats.org/officeDocument/2006/relationships/hyperlink" Target="https://ncgov.servicenowservices.com/cms_vaccine/" TargetMode="Externa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16.jpe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17.png"/><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7F47A66F-7D6D-6042-A4EB-AF4CAEA86DDB}"/>
              </a:ext>
            </a:extLst>
          </p:cNvPr>
          <p:cNvSpPr>
            <a:spLocks noGrp="1"/>
          </p:cNvSpPr>
          <p:nvPr>
            <p:ph type="subTitle" idx="1"/>
          </p:nvPr>
        </p:nvSpPr>
        <p:spPr>
          <a:xfrm>
            <a:off x="480791" y="3808429"/>
            <a:ext cx="3745970" cy="743943"/>
          </a:xfrm>
        </p:spPr>
        <p:txBody>
          <a:bodyPr lIns="91440" tIns="45720" rIns="91440" bIns="45720" anchor="b">
            <a:normAutofit/>
          </a:bodyPr>
          <a:lstStyle/>
          <a:p>
            <a:pPr algn="l"/>
            <a:r>
              <a:rPr lang="en-US" sz="1600">
                <a:latin typeface="EYInterstate"/>
                <a:cs typeface="Calibri"/>
              </a:rPr>
              <a:t>Version 1</a:t>
            </a:r>
            <a:endParaRPr lang="en-US" sz="1600">
              <a:latin typeface="EYInterstate" panose="02000503020000020004" pitchFamily="2" charset="0"/>
              <a:cs typeface="Calibri"/>
            </a:endParaRPr>
          </a:p>
          <a:p>
            <a:pPr algn="l"/>
            <a:r>
              <a:rPr lang="en-US" sz="1600">
                <a:latin typeface="EYInterstate"/>
                <a:cs typeface="Calibri"/>
              </a:rPr>
              <a:t>January 27, 2021</a:t>
            </a:r>
            <a:endParaRPr lang="en-US" sz="1600">
              <a:latin typeface="EYInterstate"/>
            </a:endParaRPr>
          </a:p>
        </p:txBody>
      </p:sp>
      <p:sp>
        <p:nvSpPr>
          <p:cNvPr id="2" name="Title 1">
            <a:extLst>
              <a:ext uri="{FF2B5EF4-FFF2-40B4-BE49-F238E27FC236}">
                <a16:creationId xmlns:a16="http://schemas.microsoft.com/office/drawing/2014/main" id="{BC00BD3B-220C-784F-A2E2-B8BF525AC13A}"/>
              </a:ext>
            </a:extLst>
          </p:cNvPr>
          <p:cNvSpPr>
            <a:spLocks noGrp="1"/>
          </p:cNvSpPr>
          <p:nvPr>
            <p:ph type="ctrTitle"/>
          </p:nvPr>
        </p:nvSpPr>
        <p:spPr>
          <a:xfrm>
            <a:off x="406931" y="346229"/>
            <a:ext cx="4873625" cy="3213717"/>
          </a:xfrm>
          <a:prstGeom prst="rect">
            <a:avLst/>
          </a:prstGeom>
        </p:spPr>
        <p:txBody>
          <a:bodyPr lIns="91440" tIns="45720" rIns="91440" bIns="45720" anchor="ctr">
            <a:noAutofit/>
          </a:bodyPr>
          <a:lstStyle/>
          <a:p>
            <a:r>
              <a:rPr lang="en-US" sz="2800">
                <a:latin typeface="EYInterstate" panose="02000503020000020004"/>
              </a:rPr>
              <a:t>North Carolina COVID-19 Vaccine Management System</a:t>
            </a:r>
            <a:br>
              <a:rPr lang="en-US" sz="2800">
                <a:latin typeface="EYInterstate" panose="02000503020000020004"/>
              </a:rPr>
            </a:br>
            <a:br>
              <a:rPr lang="en-US" sz="2800" b="1">
                <a:solidFill>
                  <a:srgbClr val="294158"/>
                </a:solidFill>
                <a:latin typeface="EYInterstate" panose="02000503020000020004"/>
              </a:rPr>
            </a:br>
            <a:r>
              <a:rPr lang="en-US" sz="2800" b="1">
                <a:solidFill>
                  <a:srgbClr val="294158"/>
                </a:solidFill>
                <a:latin typeface="EYInterstate" panose="02000503020000020004"/>
              </a:rPr>
              <a:t>CVMS HCP Onboarding and Recipient Bulk Submission</a:t>
            </a:r>
            <a:br>
              <a:rPr lang="en-US" sz="2800" b="1">
                <a:solidFill>
                  <a:srgbClr val="294158"/>
                </a:solidFill>
                <a:latin typeface="EYInterstate" panose="02000503020000020004"/>
              </a:rPr>
            </a:br>
            <a:br>
              <a:rPr lang="en-US" sz="2800" b="1">
                <a:solidFill>
                  <a:srgbClr val="294158"/>
                </a:solidFill>
                <a:latin typeface="EYInterstate" panose="02000503020000020004"/>
              </a:rPr>
            </a:br>
            <a:r>
              <a:rPr lang="en-US" sz="2800">
                <a:latin typeface="EYInterstate" panose="02000503020000020004"/>
              </a:rPr>
              <a:t>User Guide</a:t>
            </a:r>
            <a:endParaRPr lang="en-US"/>
          </a:p>
        </p:txBody>
      </p:sp>
      <p:sp>
        <p:nvSpPr>
          <p:cNvPr id="15" name="Title 1">
            <a:extLst>
              <a:ext uri="{FF2B5EF4-FFF2-40B4-BE49-F238E27FC236}">
                <a16:creationId xmlns:a16="http://schemas.microsoft.com/office/drawing/2014/main" id="{223C3761-22F5-CA44-A519-D3DF7B18CD73}"/>
              </a:ext>
            </a:extLst>
          </p:cNvPr>
          <p:cNvSpPr txBox="1">
            <a:spLocks/>
          </p:cNvSpPr>
          <p:nvPr/>
        </p:nvSpPr>
        <p:spPr>
          <a:xfrm>
            <a:off x="406931" y="2767262"/>
            <a:ext cx="4874682" cy="1252783"/>
          </a:xfrm>
        </p:spPr>
        <p:txBody>
          <a:bodyPr anchor="ctr">
            <a:normAutofit/>
          </a:bodyPr>
          <a:lstStyle>
            <a:lvl1pPr algn="ctr" defTabSz="913943" rtl="0" eaLnBrk="1" latinLnBrk="0" hangingPunct="1">
              <a:lnSpc>
                <a:spcPct val="85000"/>
              </a:lnSpc>
              <a:spcBef>
                <a:spcPct val="0"/>
              </a:spcBef>
              <a:buNone/>
              <a:defRPr sz="6000" b="1" kern="1200">
                <a:solidFill>
                  <a:schemeClr val="bg1"/>
                </a:solidFill>
                <a:latin typeface="Century Gothic" panose="020B0502020202020204" pitchFamily="34"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endParaRPr kumimoji="0" lang="en-US" sz="2000" b="1" i="0" u="none" strike="noStrike" kern="1200" cap="none" spc="0" normalizeH="0" baseline="0" noProof="0">
              <a:ln>
                <a:noFill/>
              </a:ln>
              <a:solidFill>
                <a:prstClr val="black"/>
              </a:solidFill>
              <a:effectLst/>
              <a:uLnTx/>
              <a:uFillTx/>
              <a:latin typeface="EYInterstate Light" panose="02000506000000020004" pitchFamily="2" charset="0"/>
              <a:ea typeface="+mj-ea"/>
              <a:cs typeface="Times New Roman"/>
            </a:endParaRPr>
          </a:p>
        </p:txBody>
      </p:sp>
    </p:spTree>
    <p:extLst>
      <p:ext uri="{BB962C8B-B14F-4D97-AF65-F5344CB8AC3E}">
        <p14:creationId xmlns:p14="http://schemas.microsoft.com/office/powerpoint/2010/main" val="245985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a:ln w="0">
                  <a:noFill/>
                </a:ln>
                <a:solidFill>
                  <a:srgbClr val="000000"/>
                </a:solidFill>
                <a:effectLst/>
                <a:uLnTx/>
                <a:uFillTx/>
                <a:latin typeface="EYInterstate"/>
                <a:ea typeface="+mj-ea"/>
                <a:cs typeface="Arial"/>
              </a:rPr>
              <a:t>Step 4 of 10: </a:t>
            </a:r>
            <a:r>
              <a:rPr lang="en-US" sz="2000" b="1">
                <a:ln w="0">
                  <a:noFill/>
                </a:ln>
                <a:solidFill>
                  <a:srgbClr val="000000"/>
                </a:solidFill>
                <a:latin typeface="EYInterstate"/>
                <a:cs typeface="Arial"/>
              </a:rPr>
              <a:t>Check Email for Credentials</a:t>
            </a:r>
            <a:endParaRPr kumimoji="0" lang="en-US" sz="2000" b="1" i="0" u="none" strike="noStrike" kern="1200" cap="none" spc="0" normalizeH="0" baseline="0" noProof="0">
              <a:ln w="0">
                <a:noFill/>
              </a:ln>
              <a:solidFill>
                <a:srgbClr val="000000"/>
              </a:solidFill>
              <a:effectLst/>
              <a:uLnTx/>
              <a:uFillTx/>
              <a:latin typeface="EYInterstate"/>
              <a:ea typeface="+mj-ea"/>
              <a:cs typeface="Arial"/>
            </a:endParaRPr>
          </a:p>
        </p:txBody>
      </p:sp>
      <p:sp>
        <p:nvSpPr>
          <p:cNvPr id="21" name="object 4">
            <a:extLst>
              <a:ext uri="{FF2B5EF4-FFF2-40B4-BE49-F238E27FC236}">
                <a16:creationId xmlns:a16="http://schemas.microsoft.com/office/drawing/2014/main" id="{97484700-38C9-49CC-AFE3-401E5C2E2E73}"/>
              </a:ext>
            </a:extLst>
          </p:cNvPr>
          <p:cNvSpPr txBox="1"/>
          <p:nvPr/>
        </p:nvSpPr>
        <p:spPr>
          <a:xfrm>
            <a:off x="349184" y="1131444"/>
            <a:ext cx="9125745" cy="1197764"/>
          </a:xfrm>
          <a:prstGeom prst="rect">
            <a:avLst/>
          </a:prstGeom>
        </p:spPr>
        <p:txBody>
          <a:bodyPr vert="horz" wrap="square" lIns="0" tIns="12700" rIns="0" bIns="0" rtlCol="0" anchor="t">
            <a:spAutoFit/>
          </a:bodyPr>
          <a:lstStyle/>
          <a:p>
            <a:pPr marL="12065" marR="5080" defTabSz="457200">
              <a:spcAft>
                <a:spcPts val="600"/>
              </a:spcAft>
              <a:tabLst>
                <a:tab pos="241300" algn="l"/>
              </a:tabLst>
              <a:defRPr/>
            </a:pPr>
            <a:r>
              <a:rPr lang="en-US">
                <a:latin typeface="EYInterstate" panose="02000503020000020004" pitchFamily="2" charset="0"/>
              </a:rPr>
              <a:t>You will receive an email (sent to the email address you used in the Customer Registration) from </a:t>
            </a:r>
            <a:r>
              <a:rPr lang="en-US" b="1">
                <a:solidFill>
                  <a:srgbClr val="002060"/>
                </a:solidFill>
              </a:rPr>
              <a:t>ncgov@servicenowservices.com</a:t>
            </a:r>
            <a:r>
              <a:rPr lang="en-US">
                <a:latin typeface="EYInterstate" panose="02000503020000020004" pitchFamily="2" charset="0"/>
              </a:rPr>
              <a:t>. This email will contain your username and a temporary password. </a:t>
            </a:r>
          </a:p>
          <a:p>
            <a:pPr marL="12065" marR="5080" defTabSz="457200">
              <a:spcAft>
                <a:spcPts val="600"/>
              </a:spcAft>
              <a:tabLst>
                <a:tab pos="241300" algn="l"/>
              </a:tabLst>
              <a:defRPr/>
            </a:pPr>
            <a:r>
              <a:rPr lang="en-US">
                <a:latin typeface="EYInterstate" panose="02000503020000020004" pitchFamily="2" charset="0"/>
              </a:rPr>
              <a:t>See example below.</a:t>
            </a:r>
            <a:endParaRPr kumimoji="0" lang="en-US" sz="1600" b="1" i="0" u="none" strike="noStrike" kern="1200" cap="none" spc="0" normalizeH="0" baseline="0" noProof="0">
              <a:ln>
                <a:noFill/>
              </a:ln>
              <a:solidFill>
                <a:srgbClr val="000000"/>
              </a:solidFill>
              <a:effectLst/>
              <a:uLnTx/>
              <a:uFillTx/>
              <a:latin typeface="EYInterstate" panose="02000503020000020004" pitchFamily="2" charset="0"/>
            </a:endParaRPr>
          </a:p>
        </p:txBody>
      </p:sp>
      <p:sp>
        <p:nvSpPr>
          <p:cNvPr id="11" name="Rectangle 10">
            <a:extLst>
              <a:ext uri="{FF2B5EF4-FFF2-40B4-BE49-F238E27FC236}">
                <a16:creationId xmlns:a16="http://schemas.microsoft.com/office/drawing/2014/main" id="{51C3714E-5162-4CE1-A8B9-2B1A19D944D9}"/>
              </a:ext>
            </a:extLst>
          </p:cNvPr>
          <p:cNvSpPr/>
          <p:nvPr/>
        </p:nvSpPr>
        <p:spPr>
          <a:xfrm>
            <a:off x="9722650" y="982220"/>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Audience</a:t>
            </a:r>
          </a:p>
        </p:txBody>
      </p:sp>
      <p:sp>
        <p:nvSpPr>
          <p:cNvPr id="14" name="Rectangle 13">
            <a:extLst>
              <a:ext uri="{FF2B5EF4-FFF2-40B4-BE49-F238E27FC236}">
                <a16:creationId xmlns:a16="http://schemas.microsoft.com/office/drawing/2014/main" id="{95F0D1EB-18E1-4500-AAE6-A4CD090D37E8}"/>
              </a:ext>
            </a:extLst>
          </p:cNvPr>
          <p:cNvSpPr/>
          <p:nvPr/>
        </p:nvSpPr>
        <p:spPr>
          <a:xfrm>
            <a:off x="9858015" y="1403117"/>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Providers</a:t>
            </a:r>
          </a:p>
        </p:txBody>
      </p:sp>
      <p:pic>
        <p:nvPicPr>
          <p:cNvPr id="38914" name="Picture 2">
            <a:extLst>
              <a:ext uri="{FF2B5EF4-FFF2-40B4-BE49-F238E27FC236}">
                <a16:creationId xmlns:a16="http://schemas.microsoft.com/office/drawing/2014/main" id="{95A33044-305A-4846-85FC-69062521025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464007" y="2673424"/>
            <a:ext cx="6896100" cy="3053132"/>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EB37ED5B-7CDA-47D6-ACD7-9CE5DDAEA67C}"/>
              </a:ext>
            </a:extLst>
          </p:cNvPr>
          <p:cNvSpPr/>
          <p:nvPr/>
        </p:nvSpPr>
        <p:spPr>
          <a:xfrm>
            <a:off x="1556607" y="3429000"/>
            <a:ext cx="3570980" cy="436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525632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a:ln w="0">
                  <a:noFill/>
                </a:ln>
                <a:solidFill>
                  <a:srgbClr val="000000"/>
                </a:solidFill>
                <a:effectLst/>
                <a:uLnTx/>
                <a:uFillTx/>
                <a:latin typeface="EYInterstate"/>
                <a:ea typeface="+mj-ea"/>
                <a:cs typeface="Arial"/>
              </a:rPr>
              <a:t>Step 5 of 11: Navigate to </a:t>
            </a:r>
            <a:r>
              <a:rPr lang="en-US" sz="2000" b="1">
                <a:ln w="0">
                  <a:noFill/>
                </a:ln>
                <a:solidFill>
                  <a:srgbClr val="000000"/>
                </a:solidFill>
                <a:latin typeface="EYInterstate"/>
                <a:cs typeface="Arial"/>
              </a:rPr>
              <a:t>Login Page</a:t>
            </a:r>
            <a:endParaRPr kumimoji="0" lang="en-US" sz="2000" b="1" i="0" u="none" strike="noStrike" kern="1200" cap="none" spc="0" normalizeH="0" baseline="0" noProof="0">
              <a:ln w="0">
                <a:noFill/>
              </a:ln>
              <a:solidFill>
                <a:srgbClr val="000000"/>
              </a:solidFill>
              <a:effectLst/>
              <a:uLnTx/>
              <a:uFillTx/>
              <a:latin typeface="EYInterstate"/>
              <a:ea typeface="+mj-ea"/>
              <a:cs typeface="Arial"/>
            </a:endParaRPr>
          </a:p>
        </p:txBody>
      </p:sp>
      <p:sp>
        <p:nvSpPr>
          <p:cNvPr id="21" name="object 4">
            <a:extLst>
              <a:ext uri="{FF2B5EF4-FFF2-40B4-BE49-F238E27FC236}">
                <a16:creationId xmlns:a16="http://schemas.microsoft.com/office/drawing/2014/main" id="{97484700-38C9-49CC-AFE3-401E5C2E2E73}"/>
              </a:ext>
            </a:extLst>
          </p:cNvPr>
          <p:cNvSpPr txBox="1"/>
          <p:nvPr/>
        </p:nvSpPr>
        <p:spPr>
          <a:xfrm>
            <a:off x="253934" y="1245307"/>
            <a:ext cx="9125745" cy="566822"/>
          </a:xfrm>
          <a:prstGeom prst="rect">
            <a:avLst/>
          </a:prstGeom>
        </p:spPr>
        <p:txBody>
          <a:bodyPr vert="horz" wrap="square" lIns="0" tIns="12700" rIns="0" bIns="0" rtlCol="0" anchor="t">
            <a:spAutoFit/>
          </a:bodyPr>
          <a:lstStyle/>
          <a:p>
            <a:pPr marL="12065" marR="5080" defTabSz="457200">
              <a:spcAft>
                <a:spcPts val="600"/>
              </a:spcAft>
              <a:tabLst>
                <a:tab pos="241300" algn="l"/>
              </a:tabLst>
              <a:defRPr/>
            </a:pPr>
            <a:r>
              <a:rPr lang="en-US">
                <a:latin typeface="EYInterstate" panose="02000503020000020004" pitchFamily="2" charset="0"/>
              </a:rPr>
              <a:t>Go back to the Helpdesk Portal (</a:t>
            </a:r>
            <a:r>
              <a:rPr lang="en-US" u="sng">
                <a:latin typeface="EYInterstate" panose="02000503020000020004" pitchFamily="2" charset="0"/>
                <a:hlinkClick r:id="rId7"/>
              </a:rPr>
              <a:t>https://ncgov.servicenowservices.com/csm_vaccine</a:t>
            </a:r>
            <a:r>
              <a:rPr lang="en-US">
                <a:latin typeface="EYInterstate" panose="02000503020000020004" pitchFamily="2" charset="0"/>
              </a:rPr>
              <a:t>. Select </a:t>
            </a:r>
            <a:r>
              <a:rPr lang="en-US" b="1">
                <a:latin typeface="EYInterstate" panose="02000503020000020004" pitchFamily="2" charset="0"/>
              </a:rPr>
              <a:t>Login </a:t>
            </a:r>
            <a:r>
              <a:rPr lang="en-US">
                <a:latin typeface="EYInterstate" panose="02000503020000020004" pitchFamily="2" charset="0"/>
              </a:rPr>
              <a:t>in the top-right corner. </a:t>
            </a:r>
            <a:endParaRPr kumimoji="0" lang="en-US" b="1" i="0" u="none" strike="noStrike" kern="1200" cap="none" spc="0" normalizeH="0" baseline="0" noProof="0">
              <a:ln>
                <a:noFill/>
              </a:ln>
              <a:solidFill>
                <a:srgbClr val="000000"/>
              </a:solidFill>
              <a:effectLst/>
              <a:uLnTx/>
              <a:uFillTx/>
              <a:latin typeface="EYInterstate" panose="02000503020000020004" pitchFamily="2" charset="0"/>
            </a:endParaRPr>
          </a:p>
        </p:txBody>
      </p:sp>
      <p:sp>
        <p:nvSpPr>
          <p:cNvPr id="13" name="Rectangle 12">
            <a:extLst>
              <a:ext uri="{FF2B5EF4-FFF2-40B4-BE49-F238E27FC236}">
                <a16:creationId xmlns:a16="http://schemas.microsoft.com/office/drawing/2014/main" id="{4A8ACE6D-F60F-4F13-8143-CCF51A175A37}"/>
              </a:ext>
            </a:extLst>
          </p:cNvPr>
          <p:cNvSpPr/>
          <p:nvPr/>
        </p:nvSpPr>
        <p:spPr>
          <a:xfrm>
            <a:off x="9722650" y="982220"/>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Audience</a:t>
            </a:r>
          </a:p>
        </p:txBody>
      </p:sp>
      <p:sp>
        <p:nvSpPr>
          <p:cNvPr id="20" name="Rectangle 19">
            <a:extLst>
              <a:ext uri="{FF2B5EF4-FFF2-40B4-BE49-F238E27FC236}">
                <a16:creationId xmlns:a16="http://schemas.microsoft.com/office/drawing/2014/main" id="{3CEF303B-DAEF-4960-8212-6FDC11DC4F7B}"/>
              </a:ext>
            </a:extLst>
          </p:cNvPr>
          <p:cNvSpPr/>
          <p:nvPr/>
        </p:nvSpPr>
        <p:spPr>
          <a:xfrm>
            <a:off x="9858015" y="1403117"/>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Providers</a:t>
            </a:r>
          </a:p>
        </p:txBody>
      </p:sp>
      <p:grpSp>
        <p:nvGrpSpPr>
          <p:cNvPr id="2" name="Group 1">
            <a:extLst>
              <a:ext uri="{FF2B5EF4-FFF2-40B4-BE49-F238E27FC236}">
                <a16:creationId xmlns:a16="http://schemas.microsoft.com/office/drawing/2014/main" id="{501CB8DE-E3CE-4373-956F-3E4D1BA64FD8}"/>
              </a:ext>
            </a:extLst>
          </p:cNvPr>
          <p:cNvGrpSpPr/>
          <p:nvPr/>
        </p:nvGrpSpPr>
        <p:grpSpPr>
          <a:xfrm>
            <a:off x="253934" y="2322375"/>
            <a:ext cx="9016920" cy="2738730"/>
            <a:chOff x="253934" y="2322375"/>
            <a:chExt cx="9016920" cy="2738730"/>
          </a:xfrm>
        </p:grpSpPr>
        <p:pic>
          <p:nvPicPr>
            <p:cNvPr id="39940" name="Picture 4">
              <a:extLst>
                <a:ext uri="{FF2B5EF4-FFF2-40B4-BE49-F238E27FC236}">
                  <a16:creationId xmlns:a16="http://schemas.microsoft.com/office/drawing/2014/main" id="{3D34E562-E9A6-4056-8FC6-30A408F31FC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3934" y="2322375"/>
              <a:ext cx="9016920" cy="2738730"/>
            </a:xfrm>
            <a:prstGeom prst="rect">
              <a:avLst/>
            </a:prstGeom>
            <a:noFill/>
            <a:ln w="28575">
              <a:solidFill>
                <a:schemeClr val="tx1"/>
              </a:solidFill>
            </a:ln>
            <a:extLst>
              <a:ext uri="{909E8E84-426E-40DD-AFC4-6F175D3DCCD1}">
                <a14:hiddenFill xmlns:a14="http://schemas.microsoft.com/office/drawing/2010/main">
                  <a:solidFill>
                    <a:srgbClr val="FFFFFF"/>
                  </a:solidFill>
                </a14:hiddenFill>
              </a:ext>
            </a:extLst>
          </p:spPr>
        </p:pic>
        <p:pic>
          <p:nvPicPr>
            <p:cNvPr id="39938" name="Picture 2" descr="Shape">
              <a:extLst>
                <a:ext uri="{FF2B5EF4-FFF2-40B4-BE49-F238E27FC236}">
                  <a16:creationId xmlns:a16="http://schemas.microsoft.com/office/drawing/2014/main" id="{2122D3D1-D5E5-45AB-AFA2-28B2D2EDCB9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746979" y="2458891"/>
              <a:ext cx="523875" cy="31432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142000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a:ln w="0">
                  <a:noFill/>
                </a:ln>
                <a:solidFill>
                  <a:srgbClr val="000000"/>
                </a:solidFill>
                <a:effectLst/>
                <a:uLnTx/>
                <a:uFillTx/>
                <a:latin typeface="EYInterstate"/>
                <a:ea typeface="+mj-ea"/>
                <a:cs typeface="Arial"/>
              </a:rPr>
              <a:t>Step 6 of 11: </a:t>
            </a:r>
            <a:r>
              <a:rPr lang="en-US" sz="2000" b="1">
                <a:ln w="0">
                  <a:noFill/>
                </a:ln>
                <a:solidFill>
                  <a:srgbClr val="000000"/>
                </a:solidFill>
                <a:latin typeface="EYInterstate"/>
                <a:cs typeface="Arial"/>
              </a:rPr>
              <a:t>Log In</a:t>
            </a:r>
            <a:endParaRPr kumimoji="0" lang="en-US" sz="2000" b="1" i="0" u="none" strike="noStrike" kern="1200" cap="none" spc="0" normalizeH="0" baseline="0" noProof="0">
              <a:ln w="0">
                <a:noFill/>
              </a:ln>
              <a:solidFill>
                <a:srgbClr val="000000"/>
              </a:solidFill>
              <a:effectLst/>
              <a:uLnTx/>
              <a:uFillTx/>
              <a:latin typeface="EYInterstate"/>
              <a:ea typeface="+mj-ea"/>
              <a:cs typeface="Arial"/>
            </a:endParaRPr>
          </a:p>
        </p:txBody>
      </p:sp>
      <p:sp>
        <p:nvSpPr>
          <p:cNvPr id="21" name="object 4">
            <a:extLst>
              <a:ext uri="{FF2B5EF4-FFF2-40B4-BE49-F238E27FC236}">
                <a16:creationId xmlns:a16="http://schemas.microsoft.com/office/drawing/2014/main" id="{97484700-38C9-49CC-AFE3-401E5C2E2E73}"/>
              </a:ext>
            </a:extLst>
          </p:cNvPr>
          <p:cNvSpPr txBox="1"/>
          <p:nvPr/>
        </p:nvSpPr>
        <p:spPr>
          <a:xfrm>
            <a:off x="349183" y="968114"/>
            <a:ext cx="9125745" cy="643766"/>
          </a:xfrm>
          <a:prstGeom prst="rect">
            <a:avLst/>
          </a:prstGeom>
        </p:spPr>
        <p:txBody>
          <a:bodyPr vert="horz" wrap="square" lIns="0" tIns="12700" rIns="0" bIns="0" rtlCol="0" anchor="t">
            <a:spAutoFit/>
          </a:bodyPr>
          <a:lstStyle/>
          <a:p>
            <a:pPr marL="12065" marR="5080" defTabSz="457200">
              <a:spcAft>
                <a:spcPts val="600"/>
              </a:spcAft>
              <a:tabLst>
                <a:tab pos="241300" algn="l"/>
              </a:tabLst>
              <a:defRPr/>
            </a:pPr>
            <a:r>
              <a:rPr lang="en-US">
                <a:latin typeface="EYInterstate" panose="02000503020000020004" pitchFamily="2" charset="0"/>
              </a:rPr>
              <a:t>Login using the Username and Temporary Password that were just emailed to you. </a:t>
            </a:r>
          </a:p>
          <a:p>
            <a:pPr marL="12065" marR="5080" defTabSz="457200">
              <a:spcAft>
                <a:spcPts val="600"/>
              </a:spcAft>
              <a:tabLst>
                <a:tab pos="241300" algn="l"/>
              </a:tabLst>
              <a:defRPr/>
            </a:pPr>
            <a:r>
              <a:rPr lang="en-US">
                <a:latin typeface="EYInterstate" panose="02000503020000020004" pitchFamily="2" charset="0"/>
              </a:rPr>
              <a:t>Then, select </a:t>
            </a:r>
            <a:r>
              <a:rPr lang="en-US" b="1">
                <a:latin typeface="EYInterstate" panose="02000503020000020004" pitchFamily="2" charset="0"/>
              </a:rPr>
              <a:t>Login</a:t>
            </a:r>
            <a:r>
              <a:rPr lang="en-US">
                <a:latin typeface="EYInterstate" panose="02000503020000020004" pitchFamily="2" charset="0"/>
              </a:rPr>
              <a:t>. </a:t>
            </a:r>
            <a:endParaRPr kumimoji="0" lang="en-US" b="1" i="0" u="none" strike="noStrike" kern="1200" cap="none" spc="0" normalizeH="0" baseline="0" noProof="0">
              <a:ln>
                <a:noFill/>
              </a:ln>
              <a:solidFill>
                <a:srgbClr val="000000"/>
              </a:solidFill>
              <a:effectLst/>
              <a:uLnTx/>
              <a:uFillTx/>
              <a:latin typeface="EYInterstate" panose="02000503020000020004" pitchFamily="2" charset="0"/>
            </a:endParaRPr>
          </a:p>
        </p:txBody>
      </p:sp>
      <p:sp>
        <p:nvSpPr>
          <p:cNvPr id="13" name="Rectangle 12">
            <a:extLst>
              <a:ext uri="{FF2B5EF4-FFF2-40B4-BE49-F238E27FC236}">
                <a16:creationId xmlns:a16="http://schemas.microsoft.com/office/drawing/2014/main" id="{4A8ACE6D-F60F-4F13-8143-CCF51A175A37}"/>
              </a:ext>
            </a:extLst>
          </p:cNvPr>
          <p:cNvSpPr/>
          <p:nvPr/>
        </p:nvSpPr>
        <p:spPr>
          <a:xfrm>
            <a:off x="9722650" y="982220"/>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Audience</a:t>
            </a:r>
          </a:p>
        </p:txBody>
      </p:sp>
      <p:sp>
        <p:nvSpPr>
          <p:cNvPr id="20" name="Rectangle 19">
            <a:extLst>
              <a:ext uri="{FF2B5EF4-FFF2-40B4-BE49-F238E27FC236}">
                <a16:creationId xmlns:a16="http://schemas.microsoft.com/office/drawing/2014/main" id="{3CEF303B-DAEF-4960-8212-6FDC11DC4F7B}"/>
              </a:ext>
            </a:extLst>
          </p:cNvPr>
          <p:cNvSpPr/>
          <p:nvPr/>
        </p:nvSpPr>
        <p:spPr>
          <a:xfrm>
            <a:off x="9858015" y="1403117"/>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Providers</a:t>
            </a:r>
          </a:p>
        </p:txBody>
      </p:sp>
      <p:grpSp>
        <p:nvGrpSpPr>
          <p:cNvPr id="2" name="Group 1">
            <a:extLst>
              <a:ext uri="{FF2B5EF4-FFF2-40B4-BE49-F238E27FC236}">
                <a16:creationId xmlns:a16="http://schemas.microsoft.com/office/drawing/2014/main" id="{8ADB92F4-795C-4E0A-B8F0-B98EBD85D3AE}"/>
              </a:ext>
            </a:extLst>
          </p:cNvPr>
          <p:cNvGrpSpPr/>
          <p:nvPr/>
        </p:nvGrpSpPr>
        <p:grpSpPr>
          <a:xfrm>
            <a:off x="3133226" y="1949132"/>
            <a:ext cx="3557661" cy="2959735"/>
            <a:chOff x="3133226" y="1949132"/>
            <a:chExt cx="3557661" cy="2959735"/>
          </a:xfrm>
        </p:grpSpPr>
        <p:pic>
          <p:nvPicPr>
            <p:cNvPr id="40962" name="Picture 2">
              <a:extLst>
                <a:ext uri="{FF2B5EF4-FFF2-40B4-BE49-F238E27FC236}">
                  <a16:creationId xmlns:a16="http://schemas.microsoft.com/office/drawing/2014/main" id="{29707C27-05B5-4BD1-9962-89CD301488A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33226" y="1949132"/>
              <a:ext cx="3557661" cy="2959735"/>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05655A3C-58D0-48D2-8BC0-89C5689C8308}"/>
                </a:ext>
              </a:extLst>
            </p:cNvPr>
            <p:cNvSpPr/>
            <p:nvPr/>
          </p:nvSpPr>
          <p:spPr>
            <a:xfrm>
              <a:off x="5520061" y="4003041"/>
              <a:ext cx="931539" cy="44980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0347332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a:ln w="0">
                  <a:noFill/>
                </a:ln>
                <a:solidFill>
                  <a:srgbClr val="000000"/>
                </a:solidFill>
                <a:effectLst/>
                <a:uLnTx/>
                <a:uFillTx/>
                <a:latin typeface="EYInterstate"/>
                <a:ea typeface="+mj-ea"/>
                <a:cs typeface="Arial"/>
              </a:rPr>
              <a:t>Step 7 of 11: Change Password</a:t>
            </a:r>
          </a:p>
        </p:txBody>
      </p:sp>
      <p:sp>
        <p:nvSpPr>
          <p:cNvPr id="21" name="object 4">
            <a:extLst>
              <a:ext uri="{FF2B5EF4-FFF2-40B4-BE49-F238E27FC236}">
                <a16:creationId xmlns:a16="http://schemas.microsoft.com/office/drawing/2014/main" id="{97484700-38C9-49CC-AFE3-401E5C2E2E73}"/>
              </a:ext>
            </a:extLst>
          </p:cNvPr>
          <p:cNvSpPr txBox="1"/>
          <p:nvPr/>
        </p:nvSpPr>
        <p:spPr>
          <a:xfrm>
            <a:off x="349185" y="878820"/>
            <a:ext cx="9125745" cy="1274708"/>
          </a:xfrm>
          <a:prstGeom prst="rect">
            <a:avLst/>
          </a:prstGeom>
        </p:spPr>
        <p:txBody>
          <a:bodyPr vert="horz" wrap="square" lIns="0" tIns="12700" rIns="0" bIns="0" rtlCol="0" anchor="t">
            <a:spAutoFit/>
          </a:bodyPr>
          <a:lstStyle/>
          <a:p>
            <a:pPr marL="12065" marR="5080" defTabSz="457200">
              <a:spcAft>
                <a:spcPts val="600"/>
              </a:spcAft>
              <a:tabLst>
                <a:tab pos="241300" algn="l"/>
              </a:tabLst>
              <a:defRPr/>
            </a:pPr>
            <a:r>
              <a:rPr lang="en-US">
                <a:latin typeface="EYInterstate" panose="02000503020000020004" pitchFamily="2" charset="0"/>
              </a:rPr>
              <a:t>If it is your first time logging in, you will be asked to change your password. </a:t>
            </a:r>
          </a:p>
          <a:p>
            <a:pPr marL="12065" marR="5080" defTabSz="457200">
              <a:spcAft>
                <a:spcPts val="600"/>
              </a:spcAft>
              <a:tabLst>
                <a:tab pos="241300" algn="l"/>
              </a:tabLst>
              <a:defRPr/>
            </a:pPr>
            <a:r>
              <a:rPr lang="en-US">
                <a:latin typeface="EYInterstate" panose="02000503020000020004" pitchFamily="2" charset="0"/>
              </a:rPr>
              <a:t>Enter your Current Password (the password that was emailed to you) in the first box and enter your New Password in the second and third box. </a:t>
            </a:r>
          </a:p>
          <a:p>
            <a:pPr marL="12065" marR="5080" defTabSz="457200">
              <a:spcAft>
                <a:spcPts val="600"/>
              </a:spcAft>
              <a:tabLst>
                <a:tab pos="241300" algn="l"/>
              </a:tabLst>
              <a:defRPr/>
            </a:pPr>
            <a:r>
              <a:rPr lang="en-US">
                <a:latin typeface="EYInterstate" panose="02000503020000020004" pitchFamily="2" charset="0"/>
              </a:rPr>
              <a:t>Then, click </a:t>
            </a:r>
            <a:r>
              <a:rPr lang="en-US" b="1">
                <a:latin typeface="EYInterstate" panose="02000503020000020004" pitchFamily="2" charset="0"/>
              </a:rPr>
              <a:t>Submit</a:t>
            </a:r>
            <a:r>
              <a:rPr lang="en-US">
                <a:latin typeface="EYInterstate" panose="02000503020000020004" pitchFamily="2" charset="0"/>
              </a:rPr>
              <a:t>.</a:t>
            </a:r>
            <a:endParaRPr kumimoji="0" lang="en-US" sz="1600" b="1" i="0" u="none" strike="noStrike" kern="1200" cap="none" spc="0" normalizeH="0" baseline="0" noProof="0">
              <a:ln>
                <a:noFill/>
              </a:ln>
              <a:solidFill>
                <a:srgbClr val="000000"/>
              </a:solidFill>
              <a:effectLst/>
              <a:uLnTx/>
              <a:uFillTx/>
              <a:latin typeface="EYInterstate" panose="02000503020000020004" pitchFamily="2" charset="0"/>
            </a:endParaRPr>
          </a:p>
        </p:txBody>
      </p:sp>
      <p:sp>
        <p:nvSpPr>
          <p:cNvPr id="13" name="Rectangle 12">
            <a:extLst>
              <a:ext uri="{FF2B5EF4-FFF2-40B4-BE49-F238E27FC236}">
                <a16:creationId xmlns:a16="http://schemas.microsoft.com/office/drawing/2014/main" id="{4A8ACE6D-F60F-4F13-8143-CCF51A175A37}"/>
              </a:ext>
            </a:extLst>
          </p:cNvPr>
          <p:cNvSpPr/>
          <p:nvPr/>
        </p:nvSpPr>
        <p:spPr>
          <a:xfrm>
            <a:off x="9722650" y="982220"/>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Audience</a:t>
            </a:r>
          </a:p>
        </p:txBody>
      </p:sp>
      <p:sp>
        <p:nvSpPr>
          <p:cNvPr id="20" name="Rectangle 19">
            <a:extLst>
              <a:ext uri="{FF2B5EF4-FFF2-40B4-BE49-F238E27FC236}">
                <a16:creationId xmlns:a16="http://schemas.microsoft.com/office/drawing/2014/main" id="{3CEF303B-DAEF-4960-8212-6FDC11DC4F7B}"/>
              </a:ext>
            </a:extLst>
          </p:cNvPr>
          <p:cNvSpPr/>
          <p:nvPr/>
        </p:nvSpPr>
        <p:spPr>
          <a:xfrm>
            <a:off x="9858015" y="1403117"/>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Providers</a:t>
            </a:r>
          </a:p>
        </p:txBody>
      </p:sp>
      <p:grpSp>
        <p:nvGrpSpPr>
          <p:cNvPr id="3" name="Group 2">
            <a:extLst>
              <a:ext uri="{FF2B5EF4-FFF2-40B4-BE49-F238E27FC236}">
                <a16:creationId xmlns:a16="http://schemas.microsoft.com/office/drawing/2014/main" id="{42774CDC-E6C3-464F-8F6E-F014E69F42E5}"/>
              </a:ext>
            </a:extLst>
          </p:cNvPr>
          <p:cNvGrpSpPr/>
          <p:nvPr/>
        </p:nvGrpSpPr>
        <p:grpSpPr>
          <a:xfrm>
            <a:off x="3304201" y="2483867"/>
            <a:ext cx="3508720" cy="3406793"/>
            <a:chOff x="3304201" y="2483867"/>
            <a:chExt cx="3508720" cy="3406793"/>
          </a:xfrm>
        </p:grpSpPr>
        <p:grpSp>
          <p:nvGrpSpPr>
            <p:cNvPr id="2" name="Group 1">
              <a:extLst>
                <a:ext uri="{FF2B5EF4-FFF2-40B4-BE49-F238E27FC236}">
                  <a16:creationId xmlns:a16="http://schemas.microsoft.com/office/drawing/2014/main" id="{1785FAF2-4758-47AA-901B-71945135F763}"/>
                </a:ext>
              </a:extLst>
            </p:cNvPr>
            <p:cNvGrpSpPr/>
            <p:nvPr/>
          </p:nvGrpSpPr>
          <p:grpSpPr>
            <a:xfrm>
              <a:off x="3304201" y="2483867"/>
              <a:ext cx="3508720" cy="3406793"/>
              <a:chOff x="3304201" y="2483867"/>
              <a:chExt cx="3508720" cy="3406793"/>
            </a:xfrm>
          </p:grpSpPr>
          <p:pic>
            <p:nvPicPr>
              <p:cNvPr id="41986" name="Picture 2">
                <a:extLst>
                  <a:ext uri="{FF2B5EF4-FFF2-40B4-BE49-F238E27FC236}">
                    <a16:creationId xmlns:a16="http://schemas.microsoft.com/office/drawing/2014/main" id="{5EBBB578-8DCD-47AC-BAA5-58990F9FA82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04201" y="2483867"/>
                <a:ext cx="3508720" cy="3406793"/>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91EE87C7-9133-454D-8D54-9DEFCCC14342}"/>
                  </a:ext>
                </a:extLst>
              </p:cNvPr>
              <p:cNvSpPr/>
              <p:nvPr/>
            </p:nvSpPr>
            <p:spPr>
              <a:xfrm>
                <a:off x="3592708" y="3546247"/>
                <a:ext cx="595834" cy="151908"/>
              </a:xfrm>
              <a:prstGeom prst="rect">
                <a:avLst/>
              </a:prstGeom>
              <a:solidFill>
                <a:schemeClr val="accent3">
                  <a:lumMod val="20000"/>
                  <a:lumOff val="80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Rectangle 9">
              <a:extLst>
                <a:ext uri="{FF2B5EF4-FFF2-40B4-BE49-F238E27FC236}">
                  <a16:creationId xmlns:a16="http://schemas.microsoft.com/office/drawing/2014/main" id="{B8C2151A-C955-40A0-AE3F-E1FC0177F91C}"/>
                </a:ext>
              </a:extLst>
            </p:cNvPr>
            <p:cNvSpPr/>
            <p:nvPr/>
          </p:nvSpPr>
          <p:spPr>
            <a:xfrm>
              <a:off x="5740722" y="5201921"/>
              <a:ext cx="771838" cy="35806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358930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kumimoji="0" lang="en-US" sz="2000" b="1" i="0" u="none" strike="noStrike" kern="1200" cap="none" spc="0" normalizeH="0" baseline="0" noProof="0">
                <a:ln w="0">
                  <a:noFill/>
                </a:ln>
                <a:solidFill>
                  <a:srgbClr val="000000"/>
                </a:solidFill>
                <a:effectLst/>
                <a:uLnTx/>
                <a:uFillTx/>
                <a:latin typeface="EYInterstate"/>
                <a:ea typeface="+mj-ea"/>
                <a:cs typeface="Arial"/>
              </a:rPr>
              <a:t>Step 8 of </a:t>
            </a:r>
            <a:r>
              <a:rPr lang="en-US" sz="2000" b="1">
                <a:ln w="0">
                  <a:noFill/>
                </a:ln>
                <a:solidFill>
                  <a:srgbClr val="000000"/>
                </a:solidFill>
                <a:latin typeface="EYInterstate"/>
                <a:cs typeface="Arial"/>
              </a:rPr>
              <a:t>11</a:t>
            </a:r>
            <a:r>
              <a:rPr kumimoji="0" lang="en-US" sz="2000" b="1" i="0" u="none" strike="noStrike" kern="1200" cap="none" spc="0" normalizeH="0" baseline="0" noProof="0">
                <a:ln w="0">
                  <a:noFill/>
                </a:ln>
                <a:solidFill>
                  <a:srgbClr val="000000"/>
                </a:solidFill>
                <a:effectLst/>
                <a:uLnTx/>
                <a:uFillTx/>
                <a:latin typeface="EYInterstate"/>
                <a:ea typeface="+mj-ea"/>
                <a:cs typeface="Arial"/>
              </a:rPr>
              <a:t>:</a:t>
            </a:r>
            <a:endParaRPr lang="en-US" sz="2000" b="1" i="0" u="none" strike="noStrike" kern="1200" cap="none" spc="0" normalizeH="0" baseline="0" noProof="0">
              <a:ln w="0">
                <a:noFill/>
              </a:ln>
              <a:solidFill>
                <a:srgbClr val="000000"/>
              </a:solidFill>
              <a:effectLst/>
              <a:uLnTx/>
              <a:uFillTx/>
              <a:latin typeface="EYInterstate"/>
              <a:cs typeface="Arial"/>
            </a:endParaRPr>
          </a:p>
        </p:txBody>
      </p:sp>
      <p:sp>
        <p:nvSpPr>
          <p:cNvPr id="11" name="Freeform 43">
            <a:extLst>
              <a:ext uri="{FF2B5EF4-FFF2-40B4-BE49-F238E27FC236}">
                <a16:creationId xmlns:a16="http://schemas.microsoft.com/office/drawing/2014/main" id="{F05B4A8E-78C0-42FA-AC31-D4D29053386D}"/>
              </a:ext>
            </a:extLst>
          </p:cNvPr>
          <p:cNvSpPr>
            <a:spLocks/>
          </p:cNvSpPr>
          <p:nvPr/>
        </p:nvSpPr>
        <p:spPr>
          <a:xfrm rot="5400000">
            <a:off x="6928233" y="3671288"/>
            <a:ext cx="5483425" cy="45719"/>
          </a:xfrm>
          <a:custGeom>
            <a:avLst/>
            <a:gdLst>
              <a:gd name="connsiteX0" fmla="*/ 0 w 11052722"/>
              <a:gd name="connsiteY0" fmla="*/ 0 h 120650"/>
              <a:gd name="connsiteX1" fmla="*/ 10692722 w 11052722"/>
              <a:gd name="connsiteY1" fmla="*/ 0 h 120650"/>
              <a:gd name="connsiteX2" fmla="*/ 10747924 w 11052722"/>
              <a:gd name="connsiteY2" fmla="*/ 0 h 120650"/>
              <a:gd name="connsiteX3" fmla="*/ 10992397 w 11052722"/>
              <a:gd name="connsiteY3" fmla="*/ 0 h 120650"/>
              <a:gd name="connsiteX4" fmla="*/ 11052722 w 11052722"/>
              <a:gd name="connsiteY4" fmla="*/ 60325 h 120650"/>
              <a:gd name="connsiteX5" fmla="*/ 10992397 w 11052722"/>
              <a:gd name="connsiteY5" fmla="*/ 120650 h 120650"/>
              <a:gd name="connsiteX6" fmla="*/ 10747924 w 11052722"/>
              <a:gd name="connsiteY6" fmla="*/ 120650 h 120650"/>
              <a:gd name="connsiteX7" fmla="*/ 10692722 w 11052722"/>
              <a:gd name="connsiteY7" fmla="*/ 120650 h 120650"/>
              <a:gd name="connsiteX8" fmla="*/ 0 w 11052722"/>
              <a:gd name="connsiteY8" fmla="*/ 120650 h 120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52722" h="120650">
                <a:moveTo>
                  <a:pt x="0" y="0"/>
                </a:moveTo>
                <a:lnTo>
                  <a:pt x="10692722" y="0"/>
                </a:lnTo>
                <a:lnTo>
                  <a:pt x="10747924" y="0"/>
                </a:lnTo>
                <a:lnTo>
                  <a:pt x="10992397" y="0"/>
                </a:lnTo>
                <a:lnTo>
                  <a:pt x="11052722" y="60325"/>
                </a:lnTo>
                <a:lnTo>
                  <a:pt x="10992397" y="120650"/>
                </a:lnTo>
                <a:lnTo>
                  <a:pt x="10747924" y="120650"/>
                </a:lnTo>
                <a:lnTo>
                  <a:pt x="10692722" y="120650"/>
                </a:lnTo>
                <a:lnTo>
                  <a:pt x="0" y="120650"/>
                </a:lnTo>
                <a:close/>
              </a:path>
            </a:pathLst>
          </a:custGeom>
          <a:solidFill>
            <a:schemeClr val="bg1">
              <a:lumMod val="8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 name="object 4">
            <a:extLst>
              <a:ext uri="{FF2B5EF4-FFF2-40B4-BE49-F238E27FC236}">
                <a16:creationId xmlns:a16="http://schemas.microsoft.com/office/drawing/2014/main" id="{97484700-38C9-49CC-AFE3-401E5C2E2E73}"/>
              </a:ext>
            </a:extLst>
          </p:cNvPr>
          <p:cNvSpPr txBox="1"/>
          <p:nvPr/>
        </p:nvSpPr>
        <p:spPr>
          <a:xfrm>
            <a:off x="356921" y="878820"/>
            <a:ext cx="8815445" cy="799706"/>
          </a:xfrm>
          <a:prstGeom prst="rect">
            <a:avLst/>
          </a:prstGeom>
        </p:spPr>
        <p:txBody>
          <a:bodyPr vert="horz" wrap="square" lIns="0" tIns="12700" rIns="0" bIns="0" rtlCol="0" anchor="t">
            <a:spAutoFit/>
          </a:bodyPr>
          <a:lstStyle/>
          <a:p>
            <a:pPr marL="12065" marR="5080" lvl="0" defTabSz="457200">
              <a:lnSpc>
                <a:spcPct val="150000"/>
              </a:lnSpc>
              <a:spcBef>
                <a:spcPts val="100"/>
              </a:spcBef>
              <a:tabLst>
                <a:tab pos="241300" algn="l"/>
              </a:tabLst>
              <a:defRPr/>
            </a:pPr>
            <a:r>
              <a:rPr lang="en-US">
                <a:latin typeface="EYInterstate" panose="02000503020000020004" pitchFamily="2" charset="0"/>
              </a:rPr>
              <a:t>Once you are both registered and logged in, you can select the </a:t>
            </a:r>
            <a:r>
              <a:rPr lang="en-US" b="1">
                <a:latin typeface="EYInterstate" panose="02000503020000020004" pitchFamily="2" charset="0"/>
              </a:rPr>
              <a:t>HCP Onboarding and Recipient Bulk Upload </a:t>
            </a:r>
            <a:r>
              <a:rPr lang="en-US">
                <a:latin typeface="EYInterstate" panose="02000503020000020004" pitchFamily="2" charset="0"/>
              </a:rPr>
              <a:t>tile on the right side of your screen. </a:t>
            </a:r>
            <a:endParaRPr kumimoji="0" lang="en-US" sz="1600" b="0" i="0" u="none" strike="noStrike" kern="1200" cap="none" spc="0" normalizeH="0" baseline="0" noProof="0">
              <a:ln>
                <a:noFill/>
              </a:ln>
              <a:solidFill>
                <a:srgbClr val="000000"/>
              </a:solidFill>
              <a:effectLst/>
              <a:uLnTx/>
              <a:uFillTx/>
              <a:latin typeface="EYInterstate" panose="02000503020000020004" pitchFamily="2" charset="0"/>
            </a:endParaRPr>
          </a:p>
        </p:txBody>
      </p:sp>
      <p:grpSp>
        <p:nvGrpSpPr>
          <p:cNvPr id="2" name="Group 1">
            <a:extLst>
              <a:ext uri="{FF2B5EF4-FFF2-40B4-BE49-F238E27FC236}">
                <a16:creationId xmlns:a16="http://schemas.microsoft.com/office/drawing/2014/main" id="{54634FDA-37F8-468F-9115-2E39A4BAADAE}"/>
              </a:ext>
            </a:extLst>
          </p:cNvPr>
          <p:cNvGrpSpPr/>
          <p:nvPr/>
        </p:nvGrpSpPr>
        <p:grpSpPr>
          <a:xfrm>
            <a:off x="253934" y="2156585"/>
            <a:ext cx="9171873" cy="4157129"/>
            <a:chOff x="253934" y="2156585"/>
            <a:chExt cx="9171873" cy="4157129"/>
          </a:xfrm>
        </p:grpSpPr>
        <p:pic>
          <p:nvPicPr>
            <p:cNvPr id="13" name="Picture 12">
              <a:extLst>
                <a:ext uri="{FF2B5EF4-FFF2-40B4-BE49-F238E27FC236}">
                  <a16:creationId xmlns:a16="http://schemas.microsoft.com/office/drawing/2014/main" id="{BCECCB24-C1A6-4D86-8820-BC5650FBD816}"/>
                </a:ext>
              </a:extLst>
            </p:cNvPr>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53934" y="2156585"/>
              <a:ext cx="9171873" cy="4070043"/>
            </a:xfrm>
            <a:prstGeom prst="rect">
              <a:avLst/>
            </a:prstGeom>
            <a:noFill/>
            <a:ln w="28575">
              <a:solidFill>
                <a:schemeClr val="tx1"/>
              </a:solidFill>
            </a:ln>
          </p:spPr>
        </p:pic>
        <p:sp>
          <p:nvSpPr>
            <p:cNvPr id="25" name="Rectangle 24">
              <a:extLst>
                <a:ext uri="{FF2B5EF4-FFF2-40B4-BE49-F238E27FC236}">
                  <a16:creationId xmlns:a16="http://schemas.microsoft.com/office/drawing/2014/main" id="{62E2E481-4606-4BD4-8D5E-F25AB30BF51F}"/>
                </a:ext>
              </a:extLst>
            </p:cNvPr>
            <p:cNvSpPr/>
            <p:nvPr/>
          </p:nvSpPr>
          <p:spPr>
            <a:xfrm>
              <a:off x="6085463" y="5534625"/>
              <a:ext cx="3004107" cy="77908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Rectangle 11">
            <a:extLst>
              <a:ext uri="{FF2B5EF4-FFF2-40B4-BE49-F238E27FC236}">
                <a16:creationId xmlns:a16="http://schemas.microsoft.com/office/drawing/2014/main" id="{E6B17F7D-B21E-4888-915F-C4D114275924}"/>
              </a:ext>
            </a:extLst>
          </p:cNvPr>
          <p:cNvSpPr/>
          <p:nvPr/>
        </p:nvSpPr>
        <p:spPr>
          <a:xfrm>
            <a:off x="9722650" y="982220"/>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Audience</a:t>
            </a:r>
          </a:p>
        </p:txBody>
      </p:sp>
      <p:sp>
        <p:nvSpPr>
          <p:cNvPr id="14" name="Rectangle 13">
            <a:extLst>
              <a:ext uri="{FF2B5EF4-FFF2-40B4-BE49-F238E27FC236}">
                <a16:creationId xmlns:a16="http://schemas.microsoft.com/office/drawing/2014/main" id="{C8790A2E-14EC-431A-8D3D-A0C0112FFD41}"/>
              </a:ext>
            </a:extLst>
          </p:cNvPr>
          <p:cNvSpPr/>
          <p:nvPr/>
        </p:nvSpPr>
        <p:spPr>
          <a:xfrm>
            <a:off x="9858015" y="1403117"/>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Providers</a:t>
            </a:r>
          </a:p>
        </p:txBody>
      </p:sp>
    </p:spTree>
    <p:extLst>
      <p:ext uri="{BB962C8B-B14F-4D97-AF65-F5344CB8AC3E}">
        <p14:creationId xmlns:p14="http://schemas.microsoft.com/office/powerpoint/2010/main" val="28421456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kumimoji="0" lang="en-US" sz="2000" b="1" i="0" u="none" strike="noStrike" kern="1200" cap="none" spc="0" normalizeH="0" baseline="0" noProof="0">
                <a:ln w="0">
                  <a:noFill/>
                </a:ln>
                <a:solidFill>
                  <a:srgbClr val="000000"/>
                </a:solidFill>
                <a:effectLst/>
                <a:uLnTx/>
                <a:uFillTx/>
                <a:latin typeface="EYInterstate"/>
                <a:ea typeface="+mj-ea"/>
                <a:cs typeface="Arial"/>
              </a:rPr>
              <a:t>Step 9 of </a:t>
            </a:r>
            <a:r>
              <a:rPr lang="en-US" sz="2000" b="1">
                <a:ln w="0">
                  <a:noFill/>
                </a:ln>
                <a:solidFill>
                  <a:srgbClr val="000000"/>
                </a:solidFill>
                <a:latin typeface="EYInterstate"/>
                <a:cs typeface="Arial"/>
              </a:rPr>
              <a:t>11</a:t>
            </a:r>
            <a:r>
              <a:rPr kumimoji="0" lang="en-US" sz="2000" b="1" i="0" u="none" strike="noStrike" kern="1200" cap="none" spc="0" normalizeH="0" baseline="0" noProof="0">
                <a:ln w="0">
                  <a:noFill/>
                </a:ln>
                <a:solidFill>
                  <a:srgbClr val="000000"/>
                </a:solidFill>
                <a:effectLst/>
                <a:uLnTx/>
                <a:uFillTx/>
                <a:latin typeface="EYInterstate"/>
                <a:ea typeface="+mj-ea"/>
                <a:cs typeface="Arial"/>
              </a:rPr>
              <a:t>:</a:t>
            </a:r>
            <a:endParaRPr lang="en-US" sz="2000" b="1" i="0" u="none" strike="noStrike" kern="1200" cap="none" spc="0" normalizeH="0" baseline="0" noProof="0">
              <a:ln w="0">
                <a:noFill/>
              </a:ln>
              <a:solidFill>
                <a:srgbClr val="000000"/>
              </a:solidFill>
              <a:effectLst/>
              <a:uLnTx/>
              <a:uFillTx/>
              <a:latin typeface="EYInterstate"/>
              <a:cs typeface="Arial"/>
            </a:endParaRPr>
          </a:p>
        </p:txBody>
      </p:sp>
      <p:sp>
        <p:nvSpPr>
          <p:cNvPr id="11" name="Freeform 43">
            <a:extLst>
              <a:ext uri="{FF2B5EF4-FFF2-40B4-BE49-F238E27FC236}">
                <a16:creationId xmlns:a16="http://schemas.microsoft.com/office/drawing/2014/main" id="{F05B4A8E-78C0-42FA-AC31-D4D29053386D}"/>
              </a:ext>
            </a:extLst>
          </p:cNvPr>
          <p:cNvSpPr>
            <a:spLocks/>
          </p:cNvSpPr>
          <p:nvPr/>
        </p:nvSpPr>
        <p:spPr>
          <a:xfrm rot="5400000">
            <a:off x="6928233" y="3671288"/>
            <a:ext cx="5483425" cy="45719"/>
          </a:xfrm>
          <a:custGeom>
            <a:avLst/>
            <a:gdLst>
              <a:gd name="connsiteX0" fmla="*/ 0 w 11052722"/>
              <a:gd name="connsiteY0" fmla="*/ 0 h 120650"/>
              <a:gd name="connsiteX1" fmla="*/ 10692722 w 11052722"/>
              <a:gd name="connsiteY1" fmla="*/ 0 h 120650"/>
              <a:gd name="connsiteX2" fmla="*/ 10747924 w 11052722"/>
              <a:gd name="connsiteY2" fmla="*/ 0 h 120650"/>
              <a:gd name="connsiteX3" fmla="*/ 10992397 w 11052722"/>
              <a:gd name="connsiteY3" fmla="*/ 0 h 120650"/>
              <a:gd name="connsiteX4" fmla="*/ 11052722 w 11052722"/>
              <a:gd name="connsiteY4" fmla="*/ 60325 h 120650"/>
              <a:gd name="connsiteX5" fmla="*/ 10992397 w 11052722"/>
              <a:gd name="connsiteY5" fmla="*/ 120650 h 120650"/>
              <a:gd name="connsiteX6" fmla="*/ 10747924 w 11052722"/>
              <a:gd name="connsiteY6" fmla="*/ 120650 h 120650"/>
              <a:gd name="connsiteX7" fmla="*/ 10692722 w 11052722"/>
              <a:gd name="connsiteY7" fmla="*/ 120650 h 120650"/>
              <a:gd name="connsiteX8" fmla="*/ 0 w 11052722"/>
              <a:gd name="connsiteY8" fmla="*/ 120650 h 120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52722" h="120650">
                <a:moveTo>
                  <a:pt x="0" y="0"/>
                </a:moveTo>
                <a:lnTo>
                  <a:pt x="10692722" y="0"/>
                </a:lnTo>
                <a:lnTo>
                  <a:pt x="10747924" y="0"/>
                </a:lnTo>
                <a:lnTo>
                  <a:pt x="10992397" y="0"/>
                </a:lnTo>
                <a:lnTo>
                  <a:pt x="11052722" y="60325"/>
                </a:lnTo>
                <a:lnTo>
                  <a:pt x="10992397" y="120650"/>
                </a:lnTo>
                <a:lnTo>
                  <a:pt x="10747924" y="120650"/>
                </a:lnTo>
                <a:lnTo>
                  <a:pt x="10692722" y="120650"/>
                </a:lnTo>
                <a:lnTo>
                  <a:pt x="0" y="120650"/>
                </a:lnTo>
                <a:close/>
              </a:path>
            </a:pathLst>
          </a:custGeom>
          <a:solidFill>
            <a:schemeClr val="bg1">
              <a:lumMod val="8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 name="object 4">
            <a:extLst>
              <a:ext uri="{FF2B5EF4-FFF2-40B4-BE49-F238E27FC236}">
                <a16:creationId xmlns:a16="http://schemas.microsoft.com/office/drawing/2014/main" id="{97484700-38C9-49CC-AFE3-401E5C2E2E73}"/>
              </a:ext>
            </a:extLst>
          </p:cNvPr>
          <p:cNvSpPr txBox="1"/>
          <p:nvPr/>
        </p:nvSpPr>
        <p:spPr>
          <a:xfrm>
            <a:off x="356921" y="878820"/>
            <a:ext cx="8815445" cy="3336811"/>
          </a:xfrm>
          <a:prstGeom prst="rect">
            <a:avLst/>
          </a:prstGeom>
        </p:spPr>
        <p:txBody>
          <a:bodyPr vert="horz" wrap="square" lIns="0" tIns="12700" rIns="0" bIns="0" rtlCol="0" anchor="t">
            <a:spAutoFit/>
          </a:bodyPr>
          <a:lstStyle/>
          <a:p>
            <a:pPr fontAlgn="base"/>
            <a:r>
              <a:rPr lang="en-US">
                <a:latin typeface="EYInterstate" panose="02000503020000020004" pitchFamily="2" charset="0"/>
              </a:rPr>
              <a:t>When you select the HCP Onboarding and Recipient Bulk Upload, you will be directed to the following screen. </a:t>
            </a:r>
          </a:p>
          <a:p>
            <a:pPr fontAlgn="base"/>
            <a:endParaRPr lang="en-US">
              <a:latin typeface="EYInterstate" panose="02000503020000020004" pitchFamily="2" charset="0"/>
            </a:endParaRPr>
          </a:p>
          <a:p>
            <a:pPr fontAlgn="base"/>
            <a:r>
              <a:rPr lang="en-US">
                <a:latin typeface="EYInterstate" panose="02000503020000020004" pitchFamily="2" charset="0"/>
              </a:rPr>
              <a:t>Click anywhere on the field labeled </a:t>
            </a:r>
            <a:r>
              <a:rPr lang="en-US" b="1">
                <a:latin typeface="EYInterstate" panose="02000503020000020004" pitchFamily="2" charset="0"/>
              </a:rPr>
              <a:t>Request Type</a:t>
            </a:r>
            <a:r>
              <a:rPr lang="en-US">
                <a:latin typeface="EYInterstate" panose="02000503020000020004" pitchFamily="2" charset="0"/>
              </a:rPr>
              <a:t> to see a drop-down menu of request types to choose from. The options are:</a:t>
            </a:r>
            <a:endParaRPr lang="en-US" b="1">
              <a:latin typeface="EYInterstate" panose="02000503020000020004" pitchFamily="2" charset="0"/>
            </a:endParaRPr>
          </a:p>
          <a:p>
            <a:pPr marL="342900" lvl="0" indent="-342900" fontAlgn="base">
              <a:buFont typeface="+mj-lt"/>
              <a:buAutoNum type="arabicPeriod"/>
            </a:pPr>
            <a:r>
              <a:rPr lang="en-US" b="1">
                <a:latin typeface="EYInterstate" panose="02000503020000020004" pitchFamily="2" charset="0"/>
              </a:rPr>
              <a:t>HCP User Onboarding</a:t>
            </a:r>
            <a:r>
              <a:rPr lang="en-US">
                <a:latin typeface="EYInterstate" panose="02000503020000020004" pitchFamily="2" charset="0"/>
              </a:rPr>
              <a:t>: to upload the names/information of medical personnel from a particular facility who will be administering the vaccine. This process will provide access to the Provider Portal to either administer the vaccine to recipients (Providers) or manage vaccine inventory (Location Managers)</a:t>
            </a:r>
          </a:p>
          <a:p>
            <a:pPr marL="342900" lvl="0" indent="-342900" fontAlgn="base">
              <a:buFont typeface="+mj-lt"/>
              <a:buAutoNum type="arabicPeriod"/>
            </a:pPr>
            <a:r>
              <a:rPr lang="en-US" b="1">
                <a:latin typeface="EYInterstate" panose="02000503020000020004" pitchFamily="2" charset="0"/>
              </a:rPr>
              <a:t>Recipient Bulk Upload</a:t>
            </a:r>
            <a:r>
              <a:rPr lang="en-US">
                <a:latin typeface="EYInterstate" panose="02000503020000020004" pitchFamily="2" charset="0"/>
              </a:rPr>
              <a:t>: to bulk upload individuals who will receive the vaccine. These individuals will need to register in the CVMS Recipient Portal and this process will help provision them for access to the Portal.</a:t>
            </a:r>
          </a:p>
        </p:txBody>
      </p:sp>
      <p:sp>
        <p:nvSpPr>
          <p:cNvPr id="12" name="Rectangle 11">
            <a:extLst>
              <a:ext uri="{FF2B5EF4-FFF2-40B4-BE49-F238E27FC236}">
                <a16:creationId xmlns:a16="http://schemas.microsoft.com/office/drawing/2014/main" id="{E6B17F7D-B21E-4888-915F-C4D114275924}"/>
              </a:ext>
            </a:extLst>
          </p:cNvPr>
          <p:cNvSpPr/>
          <p:nvPr/>
        </p:nvSpPr>
        <p:spPr>
          <a:xfrm>
            <a:off x="9722650" y="982220"/>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Audience</a:t>
            </a:r>
          </a:p>
        </p:txBody>
      </p:sp>
      <p:sp>
        <p:nvSpPr>
          <p:cNvPr id="14" name="Rectangle 13">
            <a:extLst>
              <a:ext uri="{FF2B5EF4-FFF2-40B4-BE49-F238E27FC236}">
                <a16:creationId xmlns:a16="http://schemas.microsoft.com/office/drawing/2014/main" id="{C8790A2E-14EC-431A-8D3D-A0C0112FFD41}"/>
              </a:ext>
            </a:extLst>
          </p:cNvPr>
          <p:cNvSpPr/>
          <p:nvPr/>
        </p:nvSpPr>
        <p:spPr>
          <a:xfrm>
            <a:off x="9858015" y="1403117"/>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Location Manager</a:t>
            </a:r>
          </a:p>
        </p:txBody>
      </p:sp>
      <p:grpSp>
        <p:nvGrpSpPr>
          <p:cNvPr id="2" name="Group 1">
            <a:extLst>
              <a:ext uri="{FF2B5EF4-FFF2-40B4-BE49-F238E27FC236}">
                <a16:creationId xmlns:a16="http://schemas.microsoft.com/office/drawing/2014/main" id="{8424D2A0-730E-4B64-81A7-58B00A562939}"/>
              </a:ext>
            </a:extLst>
          </p:cNvPr>
          <p:cNvGrpSpPr/>
          <p:nvPr/>
        </p:nvGrpSpPr>
        <p:grpSpPr>
          <a:xfrm>
            <a:off x="2336408" y="4300774"/>
            <a:ext cx="5013459" cy="2362219"/>
            <a:chOff x="1850050" y="3528393"/>
            <a:chExt cx="5822202" cy="2989682"/>
          </a:xfrm>
        </p:grpSpPr>
        <p:pic>
          <p:nvPicPr>
            <p:cNvPr id="15" name="Picture 14" descr="C:\Users\HU778EK\AppData\Local\Microsoft\Windows\INetCache\Content.MSO\79E3483D.tmp">
              <a:extLst>
                <a:ext uri="{FF2B5EF4-FFF2-40B4-BE49-F238E27FC236}">
                  <a16:creationId xmlns:a16="http://schemas.microsoft.com/office/drawing/2014/main" id="{5EEBE7B4-C47A-4F7D-8AA1-DB0B0416D401}"/>
                </a:ext>
              </a:extLst>
            </p:cNvPr>
            <p:cNvPicPr/>
            <p:nvPr/>
          </p:nvPicPr>
          <p:blipFill rotWithShape="1">
            <a:blip r:embed="rId7">
              <a:extLst>
                <a:ext uri="{28A0092B-C50C-407E-A947-70E740481C1C}">
                  <a14:useLocalDpi xmlns:a14="http://schemas.microsoft.com/office/drawing/2010/main" val="0"/>
                </a:ext>
              </a:extLst>
            </a:blip>
            <a:srcRect t="5509" r="36838" b="10035"/>
            <a:stretch/>
          </p:blipFill>
          <p:spPr bwMode="auto">
            <a:xfrm>
              <a:off x="1850050" y="3528393"/>
              <a:ext cx="5822202" cy="2989682"/>
            </a:xfrm>
            <a:prstGeom prst="rect">
              <a:avLst/>
            </a:prstGeom>
            <a:noFill/>
            <a:ln w="28575">
              <a:solidFill>
                <a:schemeClr val="tx1"/>
              </a:solidFill>
            </a:ln>
            <a:extLst>
              <a:ext uri="{53640926-AAD7-44D8-BBD7-CCE9431645EC}">
                <a14:shadowObscured xmlns:a14="http://schemas.microsoft.com/office/drawing/2010/main"/>
              </a:ext>
            </a:extLst>
          </p:spPr>
        </p:pic>
        <p:sp>
          <p:nvSpPr>
            <p:cNvPr id="16" name="Rectangle 15">
              <a:extLst>
                <a:ext uri="{FF2B5EF4-FFF2-40B4-BE49-F238E27FC236}">
                  <a16:creationId xmlns:a16="http://schemas.microsoft.com/office/drawing/2014/main" id="{3042B82B-08E0-4DC4-A985-F2B525C8E8E1}"/>
                </a:ext>
              </a:extLst>
            </p:cNvPr>
            <p:cNvSpPr/>
            <p:nvPr/>
          </p:nvSpPr>
          <p:spPr>
            <a:xfrm>
              <a:off x="2079521" y="4881482"/>
              <a:ext cx="1414793" cy="163659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0676745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F3BD51B-0D39-487F-8C5B-7CDAB112BBAB}"/>
              </a:ext>
            </a:extLst>
          </p:cNvPr>
          <p:cNvSpPr/>
          <p:nvPr/>
        </p:nvSpPr>
        <p:spPr>
          <a:xfrm>
            <a:off x="0" y="-1"/>
            <a:ext cx="12192000" cy="6115050"/>
          </a:xfrm>
          <a:prstGeom prst="rect">
            <a:avLst/>
          </a:prstGeom>
          <a:solidFill>
            <a:schemeClr val="bg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EYInterstate" panose="02000503020000020004" pitchFamily="2" charset="0"/>
              <a:ea typeface="+mn-ea"/>
              <a:cs typeface="+mn-cs"/>
            </a:endParaRPr>
          </a:p>
        </p:txBody>
      </p:sp>
      <p:graphicFrame>
        <p:nvGraphicFramePr>
          <p:cNvPr id="4" name="Object 3" hidden="1">
            <a:extLst>
              <a:ext uri="{FF2B5EF4-FFF2-40B4-BE49-F238E27FC236}">
                <a16:creationId xmlns:a16="http://schemas.microsoft.com/office/drawing/2014/main" id="{0954613E-E3F7-D44B-B1D7-C81E923F5BB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0954613E-E3F7-D44B-B1D7-C81E923F5BB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DD44C1A4-CC9D-4A4B-B32B-18DEC47A3A50}"/>
              </a:ext>
            </a:extLst>
          </p:cNvPr>
          <p:cNvSpPr txBox="1"/>
          <p:nvPr/>
        </p:nvSpPr>
        <p:spPr>
          <a:xfrm>
            <a:off x="864524" y="2734358"/>
            <a:ext cx="10238906" cy="646331"/>
          </a:xfrm>
          <a:prstGeom prst="rect">
            <a:avLst/>
          </a:prstGeom>
          <a:noFill/>
        </p:spPr>
        <p:txBody>
          <a:bodyPr wrap="square" rtlCol="0">
            <a:spAutoFit/>
          </a:bodyPr>
          <a:lstStyle/>
          <a:p>
            <a:pPr lvl="0">
              <a:defRPr/>
            </a:pPr>
            <a:r>
              <a:rPr lang="en-US" sz="3600" b="1">
                <a:solidFill>
                  <a:prstClr val="white"/>
                </a:solidFill>
                <a:latin typeface="EYInterstate" panose="02000503020000020004" pitchFamily="2" charset="0"/>
              </a:rPr>
              <a:t>HCP User Onboarding Process</a:t>
            </a:r>
          </a:p>
        </p:txBody>
      </p:sp>
    </p:spTree>
    <p:extLst>
      <p:ext uri="{BB962C8B-B14F-4D97-AF65-F5344CB8AC3E}">
        <p14:creationId xmlns:p14="http://schemas.microsoft.com/office/powerpoint/2010/main" val="17479004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kumimoji="0" lang="en-US" sz="2000" b="1" i="0" u="none" strike="noStrike" kern="1200" cap="none" spc="0" normalizeH="0" baseline="0" noProof="0">
                <a:ln w="0">
                  <a:noFill/>
                </a:ln>
                <a:solidFill>
                  <a:srgbClr val="000000"/>
                </a:solidFill>
                <a:effectLst/>
                <a:uLnTx/>
                <a:uFillTx/>
                <a:latin typeface="EYInterstate"/>
                <a:ea typeface="+mj-ea"/>
                <a:cs typeface="Arial"/>
              </a:rPr>
              <a:t>Step 10.1 of </a:t>
            </a:r>
            <a:r>
              <a:rPr lang="en-US" sz="2000" b="1">
                <a:ln w="0">
                  <a:noFill/>
                </a:ln>
                <a:solidFill>
                  <a:srgbClr val="000000"/>
                </a:solidFill>
                <a:latin typeface="EYInterstate"/>
                <a:cs typeface="Arial"/>
              </a:rPr>
              <a:t>12</a:t>
            </a:r>
            <a:r>
              <a:rPr kumimoji="0" lang="en-US" sz="2000" b="1" i="0" u="none" strike="noStrike" kern="1200" cap="none" spc="0" normalizeH="0" baseline="0" noProof="0">
                <a:ln w="0">
                  <a:noFill/>
                </a:ln>
                <a:solidFill>
                  <a:srgbClr val="000000"/>
                </a:solidFill>
                <a:effectLst/>
                <a:uLnTx/>
                <a:uFillTx/>
                <a:latin typeface="EYInterstate"/>
                <a:ea typeface="+mj-ea"/>
                <a:cs typeface="Arial"/>
              </a:rPr>
              <a:t>:</a:t>
            </a:r>
            <a:endParaRPr lang="en-US" sz="2000" b="1" i="0" u="none" strike="noStrike" kern="1200" cap="none" spc="0" normalizeH="0" baseline="0" noProof="0">
              <a:ln w="0">
                <a:noFill/>
              </a:ln>
              <a:solidFill>
                <a:srgbClr val="000000"/>
              </a:solidFill>
              <a:effectLst/>
              <a:uLnTx/>
              <a:uFillTx/>
              <a:latin typeface="EYInterstate"/>
              <a:cs typeface="Arial"/>
            </a:endParaRPr>
          </a:p>
        </p:txBody>
      </p:sp>
      <p:sp>
        <p:nvSpPr>
          <p:cNvPr id="11" name="Freeform 43">
            <a:extLst>
              <a:ext uri="{FF2B5EF4-FFF2-40B4-BE49-F238E27FC236}">
                <a16:creationId xmlns:a16="http://schemas.microsoft.com/office/drawing/2014/main" id="{F05B4A8E-78C0-42FA-AC31-D4D29053386D}"/>
              </a:ext>
            </a:extLst>
          </p:cNvPr>
          <p:cNvSpPr>
            <a:spLocks/>
          </p:cNvSpPr>
          <p:nvPr/>
        </p:nvSpPr>
        <p:spPr>
          <a:xfrm rot="5400000">
            <a:off x="6928233" y="3671288"/>
            <a:ext cx="5483425" cy="45719"/>
          </a:xfrm>
          <a:custGeom>
            <a:avLst/>
            <a:gdLst>
              <a:gd name="connsiteX0" fmla="*/ 0 w 11052722"/>
              <a:gd name="connsiteY0" fmla="*/ 0 h 120650"/>
              <a:gd name="connsiteX1" fmla="*/ 10692722 w 11052722"/>
              <a:gd name="connsiteY1" fmla="*/ 0 h 120650"/>
              <a:gd name="connsiteX2" fmla="*/ 10747924 w 11052722"/>
              <a:gd name="connsiteY2" fmla="*/ 0 h 120650"/>
              <a:gd name="connsiteX3" fmla="*/ 10992397 w 11052722"/>
              <a:gd name="connsiteY3" fmla="*/ 0 h 120650"/>
              <a:gd name="connsiteX4" fmla="*/ 11052722 w 11052722"/>
              <a:gd name="connsiteY4" fmla="*/ 60325 h 120650"/>
              <a:gd name="connsiteX5" fmla="*/ 10992397 w 11052722"/>
              <a:gd name="connsiteY5" fmla="*/ 120650 h 120650"/>
              <a:gd name="connsiteX6" fmla="*/ 10747924 w 11052722"/>
              <a:gd name="connsiteY6" fmla="*/ 120650 h 120650"/>
              <a:gd name="connsiteX7" fmla="*/ 10692722 w 11052722"/>
              <a:gd name="connsiteY7" fmla="*/ 120650 h 120650"/>
              <a:gd name="connsiteX8" fmla="*/ 0 w 11052722"/>
              <a:gd name="connsiteY8" fmla="*/ 120650 h 120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52722" h="120650">
                <a:moveTo>
                  <a:pt x="0" y="0"/>
                </a:moveTo>
                <a:lnTo>
                  <a:pt x="10692722" y="0"/>
                </a:lnTo>
                <a:lnTo>
                  <a:pt x="10747924" y="0"/>
                </a:lnTo>
                <a:lnTo>
                  <a:pt x="10992397" y="0"/>
                </a:lnTo>
                <a:lnTo>
                  <a:pt x="11052722" y="60325"/>
                </a:lnTo>
                <a:lnTo>
                  <a:pt x="10992397" y="120650"/>
                </a:lnTo>
                <a:lnTo>
                  <a:pt x="10747924" y="120650"/>
                </a:lnTo>
                <a:lnTo>
                  <a:pt x="10692722" y="120650"/>
                </a:lnTo>
                <a:lnTo>
                  <a:pt x="0" y="120650"/>
                </a:lnTo>
                <a:close/>
              </a:path>
            </a:pathLst>
          </a:custGeom>
          <a:solidFill>
            <a:schemeClr val="bg1">
              <a:lumMod val="8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E6B17F7D-B21E-4888-915F-C4D114275924}"/>
              </a:ext>
            </a:extLst>
          </p:cNvPr>
          <p:cNvSpPr/>
          <p:nvPr/>
        </p:nvSpPr>
        <p:spPr>
          <a:xfrm>
            <a:off x="9722650" y="982220"/>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Audience</a:t>
            </a:r>
          </a:p>
        </p:txBody>
      </p:sp>
      <p:sp>
        <p:nvSpPr>
          <p:cNvPr id="14" name="Rectangle 13">
            <a:extLst>
              <a:ext uri="{FF2B5EF4-FFF2-40B4-BE49-F238E27FC236}">
                <a16:creationId xmlns:a16="http://schemas.microsoft.com/office/drawing/2014/main" id="{C8790A2E-14EC-431A-8D3D-A0C0112FFD41}"/>
              </a:ext>
            </a:extLst>
          </p:cNvPr>
          <p:cNvSpPr/>
          <p:nvPr/>
        </p:nvSpPr>
        <p:spPr>
          <a:xfrm>
            <a:off x="9842582" y="1281792"/>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Providers</a:t>
            </a:r>
          </a:p>
        </p:txBody>
      </p:sp>
      <p:sp>
        <p:nvSpPr>
          <p:cNvPr id="18" name="TextBox 17">
            <a:extLst>
              <a:ext uri="{FF2B5EF4-FFF2-40B4-BE49-F238E27FC236}">
                <a16:creationId xmlns:a16="http://schemas.microsoft.com/office/drawing/2014/main" id="{5921E684-25A7-46D3-9CCC-3FDDFD15B4D9}"/>
              </a:ext>
            </a:extLst>
          </p:cNvPr>
          <p:cNvSpPr txBox="1"/>
          <p:nvPr/>
        </p:nvSpPr>
        <p:spPr>
          <a:xfrm>
            <a:off x="9842582" y="2023839"/>
            <a:ext cx="2238049" cy="4170372"/>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EYInterstate"/>
                <a:ea typeface="+mn-ea"/>
                <a:cs typeface="+mn-cs"/>
              </a:rPr>
              <a:t>Important Note:</a:t>
            </a:r>
          </a:p>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lang="en-US" sz="1400" dirty="0">
                <a:solidFill>
                  <a:srgbClr val="000000"/>
                </a:solidFill>
                <a:latin typeface="EYInterstate"/>
              </a:rPr>
              <a:t>The VAC Pin refers to a Vaccine for Children pin number (also know as the </a:t>
            </a:r>
            <a:r>
              <a:rPr lang="en-US" sz="1400" b="1" dirty="0">
                <a:solidFill>
                  <a:srgbClr val="000000"/>
                </a:solidFill>
                <a:latin typeface="EYInterstate"/>
              </a:rPr>
              <a:t>Registration Code)</a:t>
            </a:r>
            <a:r>
              <a:rPr lang="en-US" sz="1400" dirty="0">
                <a:solidFill>
                  <a:srgbClr val="000000"/>
                </a:solidFill>
                <a:latin typeface="EYInterstate"/>
              </a:rPr>
              <a:t>. If you do not have access to one, use the CVMS vaccination code “VAC2021.” If you are submitting Onboarding files for multiple facilities, you only have to submit one </a:t>
            </a:r>
            <a:r>
              <a:rPr lang="en-US" sz="1400" b="1" dirty="0">
                <a:solidFill>
                  <a:srgbClr val="000000"/>
                </a:solidFill>
                <a:latin typeface="EYInterstate"/>
              </a:rPr>
              <a:t>VFC Pin </a:t>
            </a:r>
            <a:r>
              <a:rPr lang="en-US" sz="1400" dirty="0">
                <a:solidFill>
                  <a:srgbClr val="000000"/>
                </a:solidFill>
                <a:latin typeface="EYInterstate"/>
              </a:rPr>
              <a:t>in the form – you are still able to submit forms for different facilities under different VFC Pins. You can also submit multiple files/attachments in the same intake form!</a:t>
            </a:r>
          </a:p>
        </p:txBody>
      </p:sp>
      <p:sp>
        <p:nvSpPr>
          <p:cNvPr id="19" name="object 4">
            <a:extLst>
              <a:ext uri="{FF2B5EF4-FFF2-40B4-BE49-F238E27FC236}">
                <a16:creationId xmlns:a16="http://schemas.microsoft.com/office/drawing/2014/main" id="{B9C2EB75-D002-4BF5-A791-F12A2C032CEF}"/>
              </a:ext>
            </a:extLst>
          </p:cNvPr>
          <p:cNvSpPr txBox="1"/>
          <p:nvPr/>
        </p:nvSpPr>
        <p:spPr>
          <a:xfrm>
            <a:off x="5386754" y="1849257"/>
            <a:ext cx="3833512" cy="3398944"/>
          </a:xfrm>
          <a:prstGeom prst="rect">
            <a:avLst/>
          </a:prstGeom>
        </p:spPr>
        <p:txBody>
          <a:bodyPr vert="horz" wrap="square" lIns="0" tIns="12700" rIns="0" bIns="0" rtlCol="0" anchor="t">
            <a:spAutoFit/>
          </a:bodyPr>
          <a:lstStyle/>
          <a:p>
            <a:pPr>
              <a:spcAft>
                <a:spcPts val="600"/>
              </a:spcAft>
              <a:buClr>
                <a:srgbClr val="4472C4"/>
              </a:buClr>
              <a:buSzPct val="70000"/>
              <a:defRPr/>
            </a:pPr>
            <a:r>
              <a:rPr lang="en-US" sz="1600">
                <a:solidFill>
                  <a:srgbClr val="000000"/>
                </a:solidFill>
                <a:latin typeface="EYInterstate" panose="02000503020000020004" pitchFamily="2" charset="0"/>
              </a:rPr>
              <a:t>1. Fill in all of the mandatory fields (with the </a:t>
            </a:r>
            <a:r>
              <a:rPr lang="en-US" sz="1600">
                <a:solidFill>
                  <a:srgbClr val="FF0000"/>
                </a:solidFill>
                <a:latin typeface="EYInterstate" panose="02000503020000020004" pitchFamily="2" charset="0"/>
              </a:rPr>
              <a:t>*</a:t>
            </a:r>
            <a:r>
              <a:rPr lang="en-US" sz="1600">
                <a:solidFill>
                  <a:srgbClr val="000000"/>
                </a:solidFill>
                <a:latin typeface="EYInterstate" panose="02000503020000020004" pitchFamily="2" charset="0"/>
              </a:rPr>
              <a:t>).</a:t>
            </a:r>
          </a:p>
          <a:p>
            <a:pPr>
              <a:spcAft>
                <a:spcPts val="600"/>
              </a:spcAft>
              <a:buClr>
                <a:srgbClr val="4472C4"/>
              </a:buClr>
              <a:buSzPct val="70000"/>
              <a:defRPr/>
            </a:pPr>
            <a:r>
              <a:rPr lang="en-US" sz="1600">
                <a:solidFill>
                  <a:srgbClr val="000000"/>
                </a:solidFill>
                <a:latin typeface="EYInterstate" panose="02000503020000020004" pitchFamily="2" charset="0"/>
              </a:rPr>
              <a:t>2. Add the appropriate attachment, </a:t>
            </a:r>
            <a:r>
              <a:rPr lang="en-US" b="1">
                <a:solidFill>
                  <a:srgbClr val="000000"/>
                </a:solidFill>
                <a:latin typeface="EYInterstate" panose="02000503020000020004" pitchFamily="2" charset="0"/>
              </a:rPr>
              <a:t>HCP User Onboarding Spreadsheet</a:t>
            </a:r>
            <a:r>
              <a:rPr lang="en-US" sz="1600">
                <a:solidFill>
                  <a:srgbClr val="000000"/>
                </a:solidFill>
                <a:latin typeface="EYInterstate" panose="02000503020000020004" pitchFamily="2" charset="0"/>
              </a:rPr>
              <a:t>, using the </a:t>
            </a:r>
            <a:r>
              <a:rPr lang="en-US" sz="1600" b="1">
                <a:solidFill>
                  <a:srgbClr val="000000"/>
                </a:solidFill>
                <a:latin typeface="EYInterstate" panose="02000503020000020004" pitchFamily="2" charset="0"/>
              </a:rPr>
              <a:t>Add attachments</a:t>
            </a:r>
            <a:r>
              <a:rPr lang="en-US" sz="1600">
                <a:solidFill>
                  <a:srgbClr val="000000"/>
                </a:solidFill>
                <a:latin typeface="EYInterstate" panose="02000503020000020004" pitchFamily="2" charset="0"/>
              </a:rPr>
              <a:t> link at the bottom-right of the form. A template for the document can be found </a:t>
            </a:r>
            <a:r>
              <a:rPr lang="en-US" sz="1600">
                <a:solidFill>
                  <a:srgbClr val="000000"/>
                </a:solidFill>
                <a:latin typeface="EYInterstate" panose="02000503020000020004" pitchFamily="2" charset="0"/>
                <a:hlinkClick r:id="rId7"/>
              </a:rPr>
              <a:t>here</a:t>
            </a:r>
            <a:r>
              <a:rPr lang="en-US" sz="1600">
                <a:solidFill>
                  <a:srgbClr val="000000"/>
                </a:solidFill>
                <a:latin typeface="EYInterstate" panose="02000503020000020004" pitchFamily="2" charset="0"/>
              </a:rPr>
              <a:t>.</a:t>
            </a:r>
          </a:p>
          <a:p>
            <a:pPr>
              <a:spcAft>
                <a:spcPts val="600"/>
              </a:spcAft>
              <a:buClr>
                <a:srgbClr val="4472C4"/>
              </a:buClr>
              <a:buSzPct val="70000"/>
              <a:defRPr/>
            </a:pPr>
            <a:endParaRPr lang="en-US" sz="1600">
              <a:solidFill>
                <a:srgbClr val="000000"/>
              </a:solidFill>
              <a:latin typeface="EYInterstate" panose="02000503020000020004" pitchFamily="2" charset="0"/>
            </a:endParaRPr>
          </a:p>
          <a:p>
            <a:pPr>
              <a:spcAft>
                <a:spcPts val="600"/>
              </a:spcAft>
              <a:buClr>
                <a:srgbClr val="4472C4"/>
              </a:buClr>
              <a:buSzPct val="70000"/>
              <a:defRPr/>
            </a:pPr>
            <a:r>
              <a:rPr lang="en-US" sz="1600">
                <a:solidFill>
                  <a:srgbClr val="000000"/>
                </a:solidFill>
                <a:latin typeface="EYInterstate" panose="02000503020000020004" pitchFamily="2" charset="0"/>
              </a:rPr>
              <a:t>Note: Please ensure to use the template provided and to fill out all of the fields to avoid any delays in processing the file!</a:t>
            </a:r>
          </a:p>
          <a:p>
            <a:pPr marL="12065" marR="5080" lvl="0" algn="l" defTabSz="457200" rtl="0" eaLnBrk="1" fontAlgn="auto" latinLnBrk="0" hangingPunct="1">
              <a:lnSpc>
                <a:spcPct val="150000"/>
              </a:lnSpc>
              <a:spcBef>
                <a:spcPts val="100"/>
              </a:spcBef>
              <a:spcAft>
                <a:spcPts val="0"/>
              </a:spcAft>
              <a:buClrTx/>
              <a:buSzTx/>
              <a:tabLst>
                <a:tab pos="241300" algn="l"/>
              </a:tabLst>
              <a:defRPr/>
            </a:pPr>
            <a:endParaRPr kumimoji="0" lang="en-US" sz="1600" b="0" i="0" u="none" strike="noStrike" kern="1200" cap="none" spc="0" normalizeH="0" baseline="0" noProof="0">
              <a:ln>
                <a:noFill/>
              </a:ln>
              <a:solidFill>
                <a:srgbClr val="000000"/>
              </a:solidFill>
              <a:effectLst/>
              <a:uLnTx/>
              <a:uFillTx/>
              <a:latin typeface="EYInterstate"/>
              <a:ea typeface="+mn-ea"/>
              <a:cs typeface="+mn-cs"/>
            </a:endParaRPr>
          </a:p>
        </p:txBody>
      </p:sp>
      <p:sp>
        <p:nvSpPr>
          <p:cNvPr id="2" name="TextBox 1">
            <a:extLst>
              <a:ext uri="{FF2B5EF4-FFF2-40B4-BE49-F238E27FC236}">
                <a16:creationId xmlns:a16="http://schemas.microsoft.com/office/drawing/2014/main" id="{3E51037A-0519-40F2-83AA-FA06E1FE8410}"/>
              </a:ext>
            </a:extLst>
          </p:cNvPr>
          <p:cNvSpPr txBox="1"/>
          <p:nvPr/>
        </p:nvSpPr>
        <p:spPr>
          <a:xfrm>
            <a:off x="287930" y="961049"/>
            <a:ext cx="8884436" cy="923330"/>
          </a:xfrm>
          <a:prstGeom prst="rect">
            <a:avLst/>
          </a:prstGeom>
          <a:noFill/>
        </p:spPr>
        <p:txBody>
          <a:bodyPr wrap="square" rtlCol="0">
            <a:spAutoFit/>
          </a:bodyPr>
          <a:lstStyle/>
          <a:p>
            <a:r>
              <a:rPr lang="en-US">
                <a:solidFill>
                  <a:srgbClr val="000000"/>
                </a:solidFill>
                <a:latin typeface="EYInterstate"/>
              </a:rPr>
              <a:t>If you select HCP User Onboarding, you will be directed to the screen shown in the image below. Complete the HCP User Onboarding intake form.</a:t>
            </a:r>
          </a:p>
          <a:p>
            <a:endParaRPr lang="en-US"/>
          </a:p>
        </p:txBody>
      </p:sp>
      <p:grpSp>
        <p:nvGrpSpPr>
          <p:cNvPr id="4" name="Group 3">
            <a:extLst>
              <a:ext uri="{FF2B5EF4-FFF2-40B4-BE49-F238E27FC236}">
                <a16:creationId xmlns:a16="http://schemas.microsoft.com/office/drawing/2014/main" id="{A45CD6B8-ABAF-448E-B739-C9EFDDED2FAC}"/>
              </a:ext>
            </a:extLst>
          </p:cNvPr>
          <p:cNvGrpSpPr/>
          <p:nvPr/>
        </p:nvGrpSpPr>
        <p:grpSpPr>
          <a:xfrm>
            <a:off x="253934" y="1849257"/>
            <a:ext cx="6867835" cy="4836827"/>
            <a:chOff x="1221455" y="1669713"/>
            <a:chExt cx="6867835" cy="4836827"/>
          </a:xfrm>
        </p:grpSpPr>
        <p:pic>
          <p:nvPicPr>
            <p:cNvPr id="20" name="Picture 19">
              <a:extLst>
                <a:ext uri="{FF2B5EF4-FFF2-40B4-BE49-F238E27FC236}">
                  <a16:creationId xmlns:a16="http://schemas.microsoft.com/office/drawing/2014/main" id="{E4D21730-0051-4F3C-819C-8B6D49FE3493}"/>
                </a:ext>
              </a:extLst>
            </p:cNvPr>
            <p:cNvPicPr/>
            <p:nvPr/>
          </p:nvPicPr>
          <p:blipFill>
            <a:blip r:embed="rId8" cstate="print">
              <a:extLst>
                <a:ext uri="{28A0092B-C50C-407E-A947-70E740481C1C}">
                  <a14:useLocalDpi xmlns:a14="http://schemas.microsoft.com/office/drawing/2010/main" val="0"/>
                </a:ext>
              </a:extLst>
            </a:blip>
            <a:stretch>
              <a:fillRect/>
            </a:stretch>
          </p:blipFill>
          <p:spPr>
            <a:xfrm>
              <a:off x="1256389" y="5400641"/>
              <a:ext cx="6832901" cy="1105899"/>
            </a:xfrm>
            <a:prstGeom prst="rect">
              <a:avLst/>
            </a:prstGeom>
            <a:ln w="28575">
              <a:solidFill>
                <a:schemeClr val="tx1"/>
              </a:solidFill>
            </a:ln>
          </p:spPr>
        </p:pic>
        <p:grpSp>
          <p:nvGrpSpPr>
            <p:cNvPr id="3" name="Group 2">
              <a:extLst>
                <a:ext uri="{FF2B5EF4-FFF2-40B4-BE49-F238E27FC236}">
                  <a16:creationId xmlns:a16="http://schemas.microsoft.com/office/drawing/2014/main" id="{C98BD829-55C9-43E8-99A4-B364DCD787EB}"/>
                </a:ext>
              </a:extLst>
            </p:cNvPr>
            <p:cNvGrpSpPr/>
            <p:nvPr/>
          </p:nvGrpSpPr>
          <p:grpSpPr>
            <a:xfrm>
              <a:off x="1221455" y="1669713"/>
              <a:ext cx="4447725" cy="3484117"/>
              <a:chOff x="1221455" y="1669713"/>
              <a:chExt cx="4447725" cy="3484117"/>
            </a:xfrm>
          </p:grpSpPr>
          <p:pic>
            <p:nvPicPr>
              <p:cNvPr id="16" name="Picture 15" descr="C:\Users\HU778EK\AppData\Local\Microsoft\Windows\INetCache\Content.MSO\8448C751.tmp">
                <a:extLst>
                  <a:ext uri="{FF2B5EF4-FFF2-40B4-BE49-F238E27FC236}">
                    <a16:creationId xmlns:a16="http://schemas.microsoft.com/office/drawing/2014/main" id="{6123C9B8-F826-45DC-B0C5-A6B024ABC715}"/>
                  </a:ext>
                </a:extLst>
              </p:cNvPr>
              <p:cNvPicPr/>
              <p:nvPr/>
            </p:nvPicPr>
            <p:blipFill rotWithShape="1">
              <a:blip r:embed="rId9">
                <a:extLst>
                  <a:ext uri="{28A0092B-C50C-407E-A947-70E740481C1C}">
                    <a14:useLocalDpi xmlns:a14="http://schemas.microsoft.com/office/drawing/2010/main" val="0"/>
                  </a:ext>
                </a:extLst>
              </a:blip>
              <a:srcRect t="1890" r="37724"/>
              <a:stretch/>
            </p:blipFill>
            <p:spPr bwMode="auto">
              <a:xfrm>
                <a:off x="1221455" y="1669713"/>
                <a:ext cx="4447725" cy="3484117"/>
              </a:xfrm>
              <a:prstGeom prst="rect">
                <a:avLst/>
              </a:prstGeom>
              <a:noFill/>
              <a:ln w="28575">
                <a:solidFill>
                  <a:schemeClr val="tx1"/>
                </a:solidFill>
              </a:ln>
              <a:extLst>
                <a:ext uri="{53640926-AAD7-44D8-BBD7-CCE9431645EC}">
                  <a14:shadowObscured xmlns:a14="http://schemas.microsoft.com/office/drawing/2010/main"/>
                </a:ext>
              </a:extLst>
            </p:spPr>
          </p:pic>
          <p:sp>
            <p:nvSpPr>
              <p:cNvPr id="22" name="Rectangle 21">
                <a:extLst>
                  <a:ext uri="{FF2B5EF4-FFF2-40B4-BE49-F238E27FC236}">
                    <a16:creationId xmlns:a16="http://schemas.microsoft.com/office/drawing/2014/main" id="{2D5F7788-3F1E-400D-9511-3233EE09CB23}"/>
                  </a:ext>
                </a:extLst>
              </p:cNvPr>
              <p:cNvSpPr/>
              <p:nvPr/>
            </p:nvSpPr>
            <p:spPr>
              <a:xfrm>
                <a:off x="4565714" y="4768411"/>
                <a:ext cx="1103466" cy="38541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23" name="Straight Arrow Connector 22">
              <a:extLst>
                <a:ext uri="{FF2B5EF4-FFF2-40B4-BE49-F238E27FC236}">
                  <a16:creationId xmlns:a16="http://schemas.microsoft.com/office/drawing/2014/main" id="{87821FB3-D15F-4425-B995-190F0ADACE4A}"/>
                </a:ext>
              </a:extLst>
            </p:cNvPr>
            <p:cNvCxnSpPr>
              <a:cxnSpLocks/>
            </p:cNvCxnSpPr>
            <p:nvPr/>
          </p:nvCxnSpPr>
          <p:spPr>
            <a:xfrm>
              <a:off x="5394857" y="5153830"/>
              <a:ext cx="0" cy="574013"/>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67E4510D-1B14-4FB2-A0E5-1638057E70CA}"/>
              </a:ext>
            </a:extLst>
          </p:cNvPr>
          <p:cNvGrpSpPr/>
          <p:nvPr/>
        </p:nvGrpSpPr>
        <p:grpSpPr>
          <a:xfrm rot="10800000">
            <a:off x="11315933" y="1873067"/>
            <a:ext cx="429650" cy="385419"/>
            <a:chOff x="11315933" y="1873067"/>
            <a:chExt cx="429650" cy="385419"/>
          </a:xfrm>
        </p:grpSpPr>
        <p:pic>
          <p:nvPicPr>
            <p:cNvPr id="15" name="Graphic 14" descr="Exclamation mark">
              <a:extLst>
                <a:ext uri="{FF2B5EF4-FFF2-40B4-BE49-F238E27FC236}">
                  <a16:creationId xmlns:a16="http://schemas.microsoft.com/office/drawing/2014/main" id="{70606AF6-0B3A-4C87-9535-8E2FA08EFBA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342567" y="1917511"/>
              <a:ext cx="367053" cy="307777"/>
            </a:xfrm>
            <a:prstGeom prst="rect">
              <a:avLst/>
            </a:prstGeom>
          </p:spPr>
        </p:pic>
        <p:sp>
          <p:nvSpPr>
            <p:cNvPr id="21" name="Rectangle 20">
              <a:extLst>
                <a:ext uri="{FF2B5EF4-FFF2-40B4-BE49-F238E27FC236}">
                  <a16:creationId xmlns:a16="http://schemas.microsoft.com/office/drawing/2014/main" id="{38FC528A-FA98-4054-AC00-A650F600B022}"/>
                </a:ext>
              </a:extLst>
            </p:cNvPr>
            <p:cNvSpPr/>
            <p:nvPr/>
          </p:nvSpPr>
          <p:spPr>
            <a:xfrm>
              <a:off x="11315933" y="1873067"/>
              <a:ext cx="429650" cy="38541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495643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8"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kumimoji="0" lang="en-US" sz="2000" b="1" i="0" u="none" strike="noStrike" kern="1200" cap="none" spc="0" normalizeH="0" baseline="0" noProof="0">
                <a:ln w="0">
                  <a:noFill/>
                </a:ln>
                <a:solidFill>
                  <a:srgbClr val="000000"/>
                </a:solidFill>
                <a:effectLst/>
                <a:uLnTx/>
                <a:uFillTx/>
                <a:latin typeface="EYInterstate"/>
                <a:ea typeface="+mj-ea"/>
                <a:cs typeface="Arial"/>
              </a:rPr>
              <a:t>Step 11.1 of </a:t>
            </a:r>
            <a:r>
              <a:rPr lang="en-US" sz="2000" b="1">
                <a:ln w="0">
                  <a:noFill/>
                </a:ln>
                <a:solidFill>
                  <a:srgbClr val="000000"/>
                </a:solidFill>
                <a:latin typeface="EYInterstate"/>
                <a:cs typeface="Arial"/>
              </a:rPr>
              <a:t>12</a:t>
            </a:r>
            <a:r>
              <a:rPr kumimoji="0" lang="en-US" sz="2000" b="1" i="0" u="none" strike="noStrike" kern="1200" cap="none" spc="0" normalizeH="0" baseline="0" noProof="0">
                <a:ln w="0">
                  <a:noFill/>
                </a:ln>
                <a:solidFill>
                  <a:srgbClr val="000000"/>
                </a:solidFill>
                <a:effectLst/>
                <a:uLnTx/>
                <a:uFillTx/>
                <a:latin typeface="EYInterstate"/>
                <a:ea typeface="+mj-ea"/>
                <a:cs typeface="Arial"/>
              </a:rPr>
              <a:t>:</a:t>
            </a:r>
            <a:endParaRPr lang="en-US" sz="2000" b="1" i="0" u="none" strike="noStrike" kern="1200" cap="none" spc="0" normalizeH="0" baseline="0" noProof="0">
              <a:ln w="0">
                <a:noFill/>
              </a:ln>
              <a:solidFill>
                <a:srgbClr val="000000"/>
              </a:solidFill>
              <a:effectLst/>
              <a:uLnTx/>
              <a:uFillTx/>
              <a:latin typeface="EYInterstate"/>
              <a:cs typeface="Arial"/>
            </a:endParaRPr>
          </a:p>
        </p:txBody>
      </p:sp>
      <p:sp>
        <p:nvSpPr>
          <p:cNvPr id="11" name="Freeform 43">
            <a:extLst>
              <a:ext uri="{FF2B5EF4-FFF2-40B4-BE49-F238E27FC236}">
                <a16:creationId xmlns:a16="http://schemas.microsoft.com/office/drawing/2014/main" id="{F05B4A8E-78C0-42FA-AC31-D4D29053386D}"/>
              </a:ext>
            </a:extLst>
          </p:cNvPr>
          <p:cNvSpPr>
            <a:spLocks/>
          </p:cNvSpPr>
          <p:nvPr/>
        </p:nvSpPr>
        <p:spPr>
          <a:xfrm rot="5400000">
            <a:off x="6928233" y="3671288"/>
            <a:ext cx="5483425" cy="45719"/>
          </a:xfrm>
          <a:custGeom>
            <a:avLst/>
            <a:gdLst>
              <a:gd name="connsiteX0" fmla="*/ 0 w 11052722"/>
              <a:gd name="connsiteY0" fmla="*/ 0 h 120650"/>
              <a:gd name="connsiteX1" fmla="*/ 10692722 w 11052722"/>
              <a:gd name="connsiteY1" fmla="*/ 0 h 120650"/>
              <a:gd name="connsiteX2" fmla="*/ 10747924 w 11052722"/>
              <a:gd name="connsiteY2" fmla="*/ 0 h 120650"/>
              <a:gd name="connsiteX3" fmla="*/ 10992397 w 11052722"/>
              <a:gd name="connsiteY3" fmla="*/ 0 h 120650"/>
              <a:gd name="connsiteX4" fmla="*/ 11052722 w 11052722"/>
              <a:gd name="connsiteY4" fmla="*/ 60325 h 120650"/>
              <a:gd name="connsiteX5" fmla="*/ 10992397 w 11052722"/>
              <a:gd name="connsiteY5" fmla="*/ 120650 h 120650"/>
              <a:gd name="connsiteX6" fmla="*/ 10747924 w 11052722"/>
              <a:gd name="connsiteY6" fmla="*/ 120650 h 120650"/>
              <a:gd name="connsiteX7" fmla="*/ 10692722 w 11052722"/>
              <a:gd name="connsiteY7" fmla="*/ 120650 h 120650"/>
              <a:gd name="connsiteX8" fmla="*/ 0 w 11052722"/>
              <a:gd name="connsiteY8" fmla="*/ 120650 h 120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52722" h="120650">
                <a:moveTo>
                  <a:pt x="0" y="0"/>
                </a:moveTo>
                <a:lnTo>
                  <a:pt x="10692722" y="0"/>
                </a:lnTo>
                <a:lnTo>
                  <a:pt x="10747924" y="0"/>
                </a:lnTo>
                <a:lnTo>
                  <a:pt x="10992397" y="0"/>
                </a:lnTo>
                <a:lnTo>
                  <a:pt x="11052722" y="60325"/>
                </a:lnTo>
                <a:lnTo>
                  <a:pt x="10992397" y="120650"/>
                </a:lnTo>
                <a:lnTo>
                  <a:pt x="10747924" y="120650"/>
                </a:lnTo>
                <a:lnTo>
                  <a:pt x="10692722" y="120650"/>
                </a:lnTo>
                <a:lnTo>
                  <a:pt x="0" y="120650"/>
                </a:lnTo>
                <a:close/>
              </a:path>
            </a:pathLst>
          </a:custGeom>
          <a:solidFill>
            <a:schemeClr val="bg1">
              <a:lumMod val="8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 name="object 4">
            <a:extLst>
              <a:ext uri="{FF2B5EF4-FFF2-40B4-BE49-F238E27FC236}">
                <a16:creationId xmlns:a16="http://schemas.microsoft.com/office/drawing/2014/main" id="{97484700-38C9-49CC-AFE3-401E5C2E2E73}"/>
              </a:ext>
            </a:extLst>
          </p:cNvPr>
          <p:cNvSpPr txBox="1"/>
          <p:nvPr/>
        </p:nvSpPr>
        <p:spPr>
          <a:xfrm>
            <a:off x="356921" y="878820"/>
            <a:ext cx="8815445" cy="1197764"/>
          </a:xfrm>
          <a:prstGeom prst="rect">
            <a:avLst/>
          </a:prstGeom>
        </p:spPr>
        <p:txBody>
          <a:bodyPr vert="horz" wrap="square" lIns="0" tIns="12700" rIns="0" bIns="0" rtlCol="0" anchor="t">
            <a:spAutoFit/>
          </a:bodyPr>
          <a:lstStyle/>
          <a:p>
            <a:pPr marL="12065" marR="5080" defTabSz="457200">
              <a:spcAft>
                <a:spcPts val="600"/>
              </a:spcAft>
              <a:tabLst>
                <a:tab pos="241300" algn="l"/>
              </a:tabLst>
              <a:defRPr/>
            </a:pPr>
            <a:r>
              <a:rPr lang="en-US">
                <a:latin typeface="EYInterstate" panose="02000503020000020004" pitchFamily="2" charset="0"/>
              </a:rPr>
              <a:t>When you have completed all the required fields and attached the required document, your intake form will look similar to the example below. </a:t>
            </a:r>
          </a:p>
          <a:p>
            <a:pPr marL="12065" marR="5080" defTabSz="457200">
              <a:spcAft>
                <a:spcPts val="600"/>
              </a:spcAft>
              <a:tabLst>
                <a:tab pos="241300" algn="l"/>
              </a:tabLst>
              <a:defRPr/>
            </a:pPr>
            <a:r>
              <a:rPr lang="en-US">
                <a:latin typeface="EYInterstate" panose="02000503020000020004" pitchFamily="2" charset="0"/>
              </a:rPr>
              <a:t>Submit the form for processing and approval by selecting the blue </a:t>
            </a:r>
            <a:r>
              <a:rPr lang="en-US" b="1">
                <a:latin typeface="EYInterstate" panose="02000503020000020004" pitchFamily="2" charset="0"/>
              </a:rPr>
              <a:t>Submit</a:t>
            </a:r>
            <a:r>
              <a:rPr lang="en-US">
                <a:latin typeface="EYInterstate" panose="02000503020000020004" pitchFamily="2" charset="0"/>
              </a:rPr>
              <a:t> button in the top-right of the screen.</a:t>
            </a:r>
            <a:endParaRPr kumimoji="0" lang="en-US" sz="1600" b="0" i="0" u="none" strike="noStrike" kern="1200" cap="none" spc="0" normalizeH="0" baseline="0" noProof="0">
              <a:ln>
                <a:noFill/>
              </a:ln>
              <a:solidFill>
                <a:srgbClr val="000000"/>
              </a:solidFill>
              <a:effectLst/>
              <a:uLnTx/>
              <a:uFillTx/>
              <a:latin typeface="EYInterstate" panose="02000503020000020004" pitchFamily="2" charset="0"/>
            </a:endParaRPr>
          </a:p>
        </p:txBody>
      </p:sp>
      <p:grpSp>
        <p:nvGrpSpPr>
          <p:cNvPr id="2" name="Group 1">
            <a:extLst>
              <a:ext uri="{FF2B5EF4-FFF2-40B4-BE49-F238E27FC236}">
                <a16:creationId xmlns:a16="http://schemas.microsoft.com/office/drawing/2014/main" id="{AA9BC15A-110F-4127-84E4-32E685E68057}"/>
              </a:ext>
            </a:extLst>
          </p:cNvPr>
          <p:cNvGrpSpPr/>
          <p:nvPr/>
        </p:nvGrpSpPr>
        <p:grpSpPr>
          <a:xfrm>
            <a:off x="1216626" y="2399497"/>
            <a:ext cx="7955740" cy="3832360"/>
            <a:chOff x="1216626" y="2399497"/>
            <a:chExt cx="7955740" cy="3832360"/>
          </a:xfrm>
        </p:grpSpPr>
        <p:pic>
          <p:nvPicPr>
            <p:cNvPr id="13" name="Picture 12" descr="C:\Users\HU778EK\AppData\Local\Microsoft\Windows\INetCache\Content.MSO\C965F935.tmp">
              <a:extLst>
                <a:ext uri="{FF2B5EF4-FFF2-40B4-BE49-F238E27FC236}">
                  <a16:creationId xmlns:a16="http://schemas.microsoft.com/office/drawing/2014/main" id="{67568EFF-B6A4-431D-9B06-5F7A4796D58C}"/>
                </a:ext>
              </a:extLst>
            </p:cNvPr>
            <p:cNvPicPr/>
            <p:nvPr/>
          </p:nvPicPr>
          <p:blipFill rotWithShape="1">
            <a:blip r:embed="rId7">
              <a:extLst>
                <a:ext uri="{28A0092B-C50C-407E-A947-70E740481C1C}">
                  <a14:useLocalDpi xmlns:a14="http://schemas.microsoft.com/office/drawing/2010/main" val="0"/>
                </a:ext>
              </a:extLst>
            </a:blip>
            <a:srcRect t="2059"/>
            <a:stretch/>
          </p:blipFill>
          <p:spPr bwMode="auto">
            <a:xfrm>
              <a:off x="1216626" y="2399497"/>
              <a:ext cx="7955740" cy="3832360"/>
            </a:xfrm>
            <a:prstGeom prst="rect">
              <a:avLst/>
            </a:prstGeom>
            <a:noFill/>
            <a:ln w="28575">
              <a:solidFill>
                <a:schemeClr val="tx1"/>
              </a:solidFill>
            </a:ln>
            <a:extLst>
              <a:ext uri="{53640926-AAD7-44D8-BBD7-CCE9431645EC}">
                <a14:shadowObscured xmlns:a14="http://schemas.microsoft.com/office/drawing/2010/main"/>
              </a:ext>
            </a:extLst>
          </p:spPr>
        </p:pic>
        <p:sp>
          <p:nvSpPr>
            <p:cNvPr id="25" name="Rectangle 24">
              <a:extLst>
                <a:ext uri="{FF2B5EF4-FFF2-40B4-BE49-F238E27FC236}">
                  <a16:creationId xmlns:a16="http://schemas.microsoft.com/office/drawing/2014/main" id="{62E2E481-4606-4BD4-8D5E-F25AB30BF51F}"/>
                </a:ext>
              </a:extLst>
            </p:cNvPr>
            <p:cNvSpPr/>
            <p:nvPr/>
          </p:nvSpPr>
          <p:spPr>
            <a:xfrm>
              <a:off x="6228538" y="2836208"/>
              <a:ext cx="2697021" cy="46203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Rectangle 11">
            <a:extLst>
              <a:ext uri="{FF2B5EF4-FFF2-40B4-BE49-F238E27FC236}">
                <a16:creationId xmlns:a16="http://schemas.microsoft.com/office/drawing/2014/main" id="{E6B17F7D-B21E-4888-915F-C4D114275924}"/>
              </a:ext>
            </a:extLst>
          </p:cNvPr>
          <p:cNvSpPr/>
          <p:nvPr/>
        </p:nvSpPr>
        <p:spPr>
          <a:xfrm>
            <a:off x="9722650" y="982220"/>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Audience</a:t>
            </a:r>
          </a:p>
        </p:txBody>
      </p:sp>
      <p:sp>
        <p:nvSpPr>
          <p:cNvPr id="14" name="Rectangle 13">
            <a:extLst>
              <a:ext uri="{FF2B5EF4-FFF2-40B4-BE49-F238E27FC236}">
                <a16:creationId xmlns:a16="http://schemas.microsoft.com/office/drawing/2014/main" id="{C8790A2E-14EC-431A-8D3D-A0C0112FFD41}"/>
              </a:ext>
            </a:extLst>
          </p:cNvPr>
          <p:cNvSpPr/>
          <p:nvPr/>
        </p:nvSpPr>
        <p:spPr>
          <a:xfrm>
            <a:off x="9858015" y="1403117"/>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a:t>
            </a:r>
            <a:r>
              <a:rPr lang="en-US" sz="1100" b="1">
                <a:solidFill>
                  <a:schemeClr val="tx1"/>
                </a:solidFill>
                <a:latin typeface="EYInterstate"/>
              </a:rPr>
              <a:t>Providers</a:t>
            </a:r>
            <a:endParaRPr kumimoji="0" lang="en-US" sz="1100" b="1" i="0" u="none" strike="noStrike" kern="1200" cap="none" spc="0" normalizeH="0" baseline="0" noProof="0">
              <a:ln>
                <a:noFill/>
              </a:ln>
              <a:solidFill>
                <a:schemeClr val="tx1"/>
              </a:solidFill>
              <a:effectLst/>
              <a:uLnTx/>
              <a:uFillTx/>
              <a:latin typeface="EYInterstate"/>
              <a:ea typeface="+mn-ea"/>
              <a:cs typeface="+mn-cs"/>
            </a:endParaRPr>
          </a:p>
        </p:txBody>
      </p:sp>
    </p:spTree>
    <p:extLst>
      <p:ext uri="{BB962C8B-B14F-4D97-AF65-F5344CB8AC3E}">
        <p14:creationId xmlns:p14="http://schemas.microsoft.com/office/powerpoint/2010/main" val="5977497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2"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kumimoji="0" lang="en-US" sz="2000" b="1" i="0" u="none" strike="noStrike" kern="1200" cap="none" spc="0" normalizeH="0" baseline="0" noProof="0">
                <a:ln w="0">
                  <a:noFill/>
                </a:ln>
                <a:solidFill>
                  <a:srgbClr val="000000"/>
                </a:solidFill>
                <a:effectLst/>
                <a:uLnTx/>
                <a:uFillTx/>
                <a:latin typeface="EYInterstate"/>
                <a:ea typeface="+mj-ea"/>
                <a:cs typeface="Arial"/>
              </a:rPr>
              <a:t>Step 12.1 of </a:t>
            </a:r>
            <a:r>
              <a:rPr lang="en-US" sz="2000" b="1">
                <a:ln w="0">
                  <a:noFill/>
                </a:ln>
                <a:solidFill>
                  <a:srgbClr val="000000"/>
                </a:solidFill>
                <a:latin typeface="EYInterstate"/>
                <a:cs typeface="Arial"/>
              </a:rPr>
              <a:t>12</a:t>
            </a:r>
            <a:r>
              <a:rPr kumimoji="0" lang="en-US" sz="2000" b="1" i="0" u="none" strike="noStrike" kern="1200" cap="none" spc="0" normalizeH="0" baseline="0" noProof="0">
                <a:ln w="0">
                  <a:noFill/>
                </a:ln>
                <a:solidFill>
                  <a:srgbClr val="000000"/>
                </a:solidFill>
                <a:effectLst/>
                <a:uLnTx/>
                <a:uFillTx/>
                <a:latin typeface="EYInterstate"/>
                <a:ea typeface="+mj-ea"/>
                <a:cs typeface="Arial"/>
              </a:rPr>
              <a:t>:</a:t>
            </a:r>
            <a:endParaRPr lang="en-US" sz="2000" b="1" i="0" u="none" strike="noStrike" kern="1200" cap="none" spc="0" normalizeH="0" baseline="0" noProof="0">
              <a:ln w="0">
                <a:noFill/>
              </a:ln>
              <a:solidFill>
                <a:srgbClr val="000000"/>
              </a:solidFill>
              <a:effectLst/>
              <a:uLnTx/>
              <a:uFillTx/>
              <a:latin typeface="EYInterstate"/>
              <a:cs typeface="Arial"/>
            </a:endParaRPr>
          </a:p>
        </p:txBody>
      </p:sp>
      <p:sp>
        <p:nvSpPr>
          <p:cNvPr id="11" name="Freeform 43">
            <a:extLst>
              <a:ext uri="{FF2B5EF4-FFF2-40B4-BE49-F238E27FC236}">
                <a16:creationId xmlns:a16="http://schemas.microsoft.com/office/drawing/2014/main" id="{F05B4A8E-78C0-42FA-AC31-D4D29053386D}"/>
              </a:ext>
            </a:extLst>
          </p:cNvPr>
          <p:cNvSpPr>
            <a:spLocks/>
          </p:cNvSpPr>
          <p:nvPr/>
        </p:nvSpPr>
        <p:spPr>
          <a:xfrm rot="5400000">
            <a:off x="6928233" y="3671288"/>
            <a:ext cx="5483425" cy="45719"/>
          </a:xfrm>
          <a:custGeom>
            <a:avLst/>
            <a:gdLst>
              <a:gd name="connsiteX0" fmla="*/ 0 w 11052722"/>
              <a:gd name="connsiteY0" fmla="*/ 0 h 120650"/>
              <a:gd name="connsiteX1" fmla="*/ 10692722 w 11052722"/>
              <a:gd name="connsiteY1" fmla="*/ 0 h 120650"/>
              <a:gd name="connsiteX2" fmla="*/ 10747924 w 11052722"/>
              <a:gd name="connsiteY2" fmla="*/ 0 h 120650"/>
              <a:gd name="connsiteX3" fmla="*/ 10992397 w 11052722"/>
              <a:gd name="connsiteY3" fmla="*/ 0 h 120650"/>
              <a:gd name="connsiteX4" fmla="*/ 11052722 w 11052722"/>
              <a:gd name="connsiteY4" fmla="*/ 60325 h 120650"/>
              <a:gd name="connsiteX5" fmla="*/ 10992397 w 11052722"/>
              <a:gd name="connsiteY5" fmla="*/ 120650 h 120650"/>
              <a:gd name="connsiteX6" fmla="*/ 10747924 w 11052722"/>
              <a:gd name="connsiteY6" fmla="*/ 120650 h 120650"/>
              <a:gd name="connsiteX7" fmla="*/ 10692722 w 11052722"/>
              <a:gd name="connsiteY7" fmla="*/ 120650 h 120650"/>
              <a:gd name="connsiteX8" fmla="*/ 0 w 11052722"/>
              <a:gd name="connsiteY8" fmla="*/ 120650 h 120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52722" h="120650">
                <a:moveTo>
                  <a:pt x="0" y="0"/>
                </a:moveTo>
                <a:lnTo>
                  <a:pt x="10692722" y="0"/>
                </a:lnTo>
                <a:lnTo>
                  <a:pt x="10747924" y="0"/>
                </a:lnTo>
                <a:lnTo>
                  <a:pt x="10992397" y="0"/>
                </a:lnTo>
                <a:lnTo>
                  <a:pt x="11052722" y="60325"/>
                </a:lnTo>
                <a:lnTo>
                  <a:pt x="10992397" y="120650"/>
                </a:lnTo>
                <a:lnTo>
                  <a:pt x="10747924" y="120650"/>
                </a:lnTo>
                <a:lnTo>
                  <a:pt x="10692722" y="120650"/>
                </a:lnTo>
                <a:lnTo>
                  <a:pt x="0" y="120650"/>
                </a:lnTo>
                <a:close/>
              </a:path>
            </a:pathLst>
          </a:custGeom>
          <a:solidFill>
            <a:schemeClr val="bg1">
              <a:lumMod val="8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 name="object 4">
            <a:extLst>
              <a:ext uri="{FF2B5EF4-FFF2-40B4-BE49-F238E27FC236}">
                <a16:creationId xmlns:a16="http://schemas.microsoft.com/office/drawing/2014/main" id="{97484700-38C9-49CC-AFE3-401E5C2E2E73}"/>
              </a:ext>
            </a:extLst>
          </p:cNvPr>
          <p:cNvSpPr txBox="1"/>
          <p:nvPr/>
        </p:nvSpPr>
        <p:spPr>
          <a:xfrm>
            <a:off x="356921" y="878820"/>
            <a:ext cx="8898050" cy="1197764"/>
          </a:xfrm>
          <a:prstGeom prst="rect">
            <a:avLst/>
          </a:prstGeom>
        </p:spPr>
        <p:txBody>
          <a:bodyPr vert="horz" wrap="square" lIns="0" tIns="12700" rIns="0" bIns="0" rtlCol="0" anchor="t">
            <a:spAutoFit/>
          </a:bodyPr>
          <a:lstStyle/>
          <a:p>
            <a:pPr marL="12065" marR="5080" defTabSz="457200">
              <a:spcAft>
                <a:spcPts val="600"/>
              </a:spcAft>
              <a:tabLst>
                <a:tab pos="241300" algn="l"/>
              </a:tabLst>
              <a:defRPr/>
            </a:pPr>
            <a:r>
              <a:rPr lang="en-US">
                <a:latin typeface="EYInterstate" panose="02000503020000020004" pitchFamily="2" charset="0"/>
              </a:rPr>
              <a:t>After the ticket submission, you may be brought to the screen shown below. This screen shows you your ticket’s lifespan and will be updated when any updates to your ticket become available.</a:t>
            </a:r>
          </a:p>
          <a:p>
            <a:pPr marL="12065" marR="5080" defTabSz="457200">
              <a:spcAft>
                <a:spcPts val="600"/>
              </a:spcAft>
              <a:tabLst>
                <a:tab pos="241300" algn="l"/>
              </a:tabLst>
              <a:defRPr/>
            </a:pPr>
            <a:r>
              <a:rPr lang="en-US">
                <a:latin typeface="EYInterstate" panose="02000503020000020004" pitchFamily="2" charset="0"/>
              </a:rPr>
              <a:t>You should receive your Case Ticket Number and associated notifications via email. </a:t>
            </a:r>
          </a:p>
        </p:txBody>
      </p:sp>
      <p:sp>
        <p:nvSpPr>
          <p:cNvPr id="12" name="Rectangle 11">
            <a:extLst>
              <a:ext uri="{FF2B5EF4-FFF2-40B4-BE49-F238E27FC236}">
                <a16:creationId xmlns:a16="http://schemas.microsoft.com/office/drawing/2014/main" id="{E6B17F7D-B21E-4888-915F-C4D114275924}"/>
              </a:ext>
            </a:extLst>
          </p:cNvPr>
          <p:cNvSpPr/>
          <p:nvPr/>
        </p:nvSpPr>
        <p:spPr>
          <a:xfrm>
            <a:off x="9722650" y="982220"/>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Audience</a:t>
            </a:r>
          </a:p>
        </p:txBody>
      </p:sp>
      <p:sp>
        <p:nvSpPr>
          <p:cNvPr id="14" name="Rectangle 13">
            <a:extLst>
              <a:ext uri="{FF2B5EF4-FFF2-40B4-BE49-F238E27FC236}">
                <a16:creationId xmlns:a16="http://schemas.microsoft.com/office/drawing/2014/main" id="{C8790A2E-14EC-431A-8D3D-A0C0112FFD41}"/>
              </a:ext>
            </a:extLst>
          </p:cNvPr>
          <p:cNvSpPr/>
          <p:nvPr/>
        </p:nvSpPr>
        <p:spPr>
          <a:xfrm>
            <a:off x="9858015" y="1403117"/>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Providers</a:t>
            </a:r>
          </a:p>
        </p:txBody>
      </p:sp>
      <p:sp>
        <p:nvSpPr>
          <p:cNvPr id="2" name="TextBox 1">
            <a:extLst>
              <a:ext uri="{FF2B5EF4-FFF2-40B4-BE49-F238E27FC236}">
                <a16:creationId xmlns:a16="http://schemas.microsoft.com/office/drawing/2014/main" id="{DBB453A1-70FF-4446-AA8B-6C396681D3BA}"/>
              </a:ext>
            </a:extLst>
          </p:cNvPr>
          <p:cNvSpPr txBox="1"/>
          <p:nvPr/>
        </p:nvSpPr>
        <p:spPr>
          <a:xfrm>
            <a:off x="9722650" y="2239902"/>
            <a:ext cx="2399012" cy="4062651"/>
          </a:xfrm>
          <a:prstGeom prst="rect">
            <a:avLst/>
          </a:prstGeom>
          <a:noFill/>
        </p:spPr>
        <p:txBody>
          <a:bodyPr wrap="square" rtlCol="0">
            <a:spAutoFit/>
          </a:bodyPr>
          <a:lstStyle/>
          <a:p>
            <a:pPr marL="12065" marR="5080" defTabSz="457200">
              <a:spcAft>
                <a:spcPts val="600"/>
              </a:spcAft>
              <a:tabLst>
                <a:tab pos="241300" algn="l"/>
              </a:tabLst>
              <a:defRPr/>
            </a:pPr>
            <a:endParaRPr lang="en-US" sz="1400">
              <a:latin typeface="EYInterstate" panose="02000503020000020004" pitchFamily="2" charset="0"/>
            </a:endParaRPr>
          </a:p>
          <a:p>
            <a:pPr marL="12065" marR="5080" defTabSz="457200">
              <a:spcAft>
                <a:spcPts val="600"/>
              </a:spcAft>
              <a:tabLst>
                <a:tab pos="241300" algn="l"/>
              </a:tabLst>
              <a:defRPr/>
            </a:pPr>
            <a:r>
              <a:rPr lang="en-US" sz="1400" b="1">
                <a:latin typeface="EYInterstate" panose="02000503020000020004" pitchFamily="2" charset="0"/>
              </a:rPr>
              <a:t>Note</a:t>
            </a:r>
          </a:p>
          <a:p>
            <a:pPr marL="12065" marR="5080" defTabSz="457200">
              <a:spcAft>
                <a:spcPts val="600"/>
              </a:spcAft>
              <a:tabLst>
                <a:tab pos="241300" algn="l"/>
              </a:tabLst>
              <a:defRPr/>
            </a:pPr>
            <a:r>
              <a:rPr lang="en-US" sz="1400">
                <a:latin typeface="EYInterstate" panose="02000503020000020004" pitchFamily="2" charset="0"/>
              </a:rPr>
              <a:t>Following your HCP Onboarding and Recipient Bulk Upload submissions, the HCP user/Recipient will receive an email once they have been provisioned for CVMS access.</a:t>
            </a:r>
          </a:p>
          <a:p>
            <a:pPr marL="12065" marR="5080" defTabSz="457200">
              <a:spcAft>
                <a:spcPts val="600"/>
              </a:spcAft>
              <a:tabLst>
                <a:tab pos="241300" algn="l"/>
              </a:tabLst>
              <a:defRPr/>
            </a:pPr>
            <a:endParaRPr lang="en-US" sz="1400">
              <a:latin typeface="EYInterstate" panose="02000503020000020004" pitchFamily="2" charset="0"/>
            </a:endParaRPr>
          </a:p>
          <a:p>
            <a:pPr marL="12065" marR="5080" defTabSz="457200">
              <a:spcAft>
                <a:spcPts val="600"/>
              </a:spcAft>
              <a:tabLst>
                <a:tab pos="241300" algn="l"/>
              </a:tabLst>
              <a:defRPr/>
            </a:pPr>
            <a:r>
              <a:rPr lang="en-US" sz="1400">
                <a:latin typeface="EYInterstate" panose="02000503020000020004" pitchFamily="2" charset="0"/>
              </a:rPr>
              <a:t>The email will include a link to the respective CVMS portal, along with that user’s login credentials to access that portal.</a:t>
            </a:r>
            <a:endParaRPr lang="en-US" sz="1200">
              <a:solidFill>
                <a:srgbClr val="000000"/>
              </a:solidFill>
              <a:latin typeface="EYInterstate" panose="02000503020000020004" pitchFamily="2" charset="0"/>
            </a:endParaRPr>
          </a:p>
        </p:txBody>
      </p:sp>
      <p:grpSp>
        <p:nvGrpSpPr>
          <p:cNvPr id="5" name="Group 4">
            <a:extLst>
              <a:ext uri="{FF2B5EF4-FFF2-40B4-BE49-F238E27FC236}">
                <a16:creationId xmlns:a16="http://schemas.microsoft.com/office/drawing/2014/main" id="{8DA45CEB-6746-4C84-B2B7-BA6B78431B59}"/>
              </a:ext>
            </a:extLst>
          </p:cNvPr>
          <p:cNvGrpSpPr/>
          <p:nvPr/>
        </p:nvGrpSpPr>
        <p:grpSpPr>
          <a:xfrm>
            <a:off x="1612249" y="2492618"/>
            <a:ext cx="6481178" cy="3083279"/>
            <a:chOff x="1612249" y="2492618"/>
            <a:chExt cx="6481178" cy="3083279"/>
          </a:xfrm>
        </p:grpSpPr>
        <p:grpSp>
          <p:nvGrpSpPr>
            <p:cNvPr id="4" name="Group 3">
              <a:extLst>
                <a:ext uri="{FF2B5EF4-FFF2-40B4-BE49-F238E27FC236}">
                  <a16:creationId xmlns:a16="http://schemas.microsoft.com/office/drawing/2014/main" id="{7B44D3CE-D5DC-4E47-8966-33C8AE318EEE}"/>
                </a:ext>
              </a:extLst>
            </p:cNvPr>
            <p:cNvGrpSpPr/>
            <p:nvPr/>
          </p:nvGrpSpPr>
          <p:grpSpPr>
            <a:xfrm>
              <a:off x="1612249" y="2492618"/>
              <a:ext cx="6481178" cy="3083279"/>
              <a:chOff x="1612249" y="2492618"/>
              <a:chExt cx="6481178" cy="3083279"/>
            </a:xfrm>
          </p:grpSpPr>
          <p:pic>
            <p:nvPicPr>
              <p:cNvPr id="13" name="Picture 12" descr="C:\Users\HU778EK\AppData\Local\Microsoft\Windows\INetCache\Content.MSO\E091F60B.tmp">
                <a:extLst>
                  <a:ext uri="{FF2B5EF4-FFF2-40B4-BE49-F238E27FC236}">
                    <a16:creationId xmlns:a16="http://schemas.microsoft.com/office/drawing/2014/main" id="{2FA7B60E-E54A-4A72-840E-A25414737732}"/>
                  </a:ext>
                </a:extLst>
              </p:cNvPr>
              <p:cNvPicPr/>
              <p:nvPr/>
            </p:nvPicPr>
            <p:blipFill rotWithShape="1">
              <a:blip r:embed="rId7">
                <a:extLst>
                  <a:ext uri="{28A0092B-C50C-407E-A947-70E740481C1C}">
                    <a14:useLocalDpi xmlns:a14="http://schemas.microsoft.com/office/drawing/2010/main" val="0"/>
                  </a:ext>
                </a:extLst>
              </a:blip>
              <a:srcRect t="2040" r="26431" b="1"/>
              <a:stretch/>
            </p:blipFill>
            <p:spPr bwMode="auto">
              <a:xfrm>
                <a:off x="1612249" y="2492618"/>
                <a:ext cx="6481178" cy="3083279"/>
              </a:xfrm>
              <a:prstGeom prst="rect">
                <a:avLst/>
              </a:prstGeom>
              <a:noFill/>
              <a:ln w="28575">
                <a:solidFill>
                  <a:schemeClr val="tx1"/>
                </a:solidFill>
              </a:ln>
              <a:extLst>
                <a:ext uri="{53640926-AAD7-44D8-BBD7-CCE9431645EC}">
                  <a14:shadowObscured xmlns:a14="http://schemas.microsoft.com/office/drawing/2010/main"/>
                </a:ext>
              </a:extLst>
            </p:spPr>
          </p:pic>
          <p:sp>
            <p:nvSpPr>
              <p:cNvPr id="3" name="TextBox 2">
                <a:extLst>
                  <a:ext uri="{FF2B5EF4-FFF2-40B4-BE49-F238E27FC236}">
                    <a16:creationId xmlns:a16="http://schemas.microsoft.com/office/drawing/2014/main" id="{B5B486A6-990C-4AE6-B9D6-6C7ACECE66F4}"/>
                  </a:ext>
                </a:extLst>
              </p:cNvPr>
              <p:cNvSpPr txBox="1"/>
              <p:nvPr/>
            </p:nvSpPr>
            <p:spPr>
              <a:xfrm>
                <a:off x="1692168" y="2812466"/>
                <a:ext cx="1369688" cy="238527"/>
              </a:xfrm>
              <a:prstGeom prst="rect">
                <a:avLst/>
              </a:prstGeom>
              <a:solidFill>
                <a:srgbClr val="F5F5F5"/>
              </a:solidFill>
              <a:ln>
                <a:noFill/>
              </a:ln>
            </p:spPr>
            <p:txBody>
              <a:bodyPr wrap="square" rtlCol="0">
                <a:spAutoFit/>
              </a:bodyPr>
              <a:lstStyle/>
              <a:p>
                <a:r>
                  <a:rPr lang="en-US" sz="950" b="1">
                    <a:solidFill>
                      <a:schemeClr val="bg2">
                        <a:lumMod val="50000"/>
                      </a:schemeClr>
                    </a:solidFill>
                  </a:rPr>
                  <a:t>HCP User Onboarding </a:t>
                </a:r>
              </a:p>
            </p:txBody>
          </p:sp>
        </p:grpSp>
        <p:sp>
          <p:nvSpPr>
            <p:cNvPr id="15" name="TextBox 14">
              <a:extLst>
                <a:ext uri="{FF2B5EF4-FFF2-40B4-BE49-F238E27FC236}">
                  <a16:creationId xmlns:a16="http://schemas.microsoft.com/office/drawing/2014/main" id="{53C67D9E-51A2-487D-8301-9A6D3B54BE50}"/>
                </a:ext>
              </a:extLst>
            </p:cNvPr>
            <p:cNvSpPr txBox="1"/>
            <p:nvPr/>
          </p:nvSpPr>
          <p:spPr>
            <a:xfrm>
              <a:off x="5268191" y="3349929"/>
              <a:ext cx="1655618" cy="200055"/>
            </a:xfrm>
            <a:prstGeom prst="rect">
              <a:avLst/>
            </a:prstGeom>
            <a:solidFill>
              <a:schemeClr val="bg1"/>
            </a:solidFill>
            <a:ln>
              <a:noFill/>
            </a:ln>
          </p:spPr>
          <p:txBody>
            <a:bodyPr wrap="square" rtlCol="0">
              <a:spAutoFit/>
            </a:bodyPr>
            <a:lstStyle/>
            <a:p>
              <a:r>
                <a:rPr lang="en-US" sz="700" b="1">
                  <a:solidFill>
                    <a:schemeClr val="accent5">
                      <a:lumMod val="75000"/>
                    </a:schemeClr>
                  </a:solidFill>
                </a:rPr>
                <a:t>HCP User Onboarding  - Test.docx</a:t>
              </a:r>
            </a:p>
          </p:txBody>
        </p:sp>
      </p:grpSp>
    </p:spTree>
    <p:extLst>
      <p:ext uri="{BB962C8B-B14F-4D97-AF65-F5344CB8AC3E}">
        <p14:creationId xmlns:p14="http://schemas.microsoft.com/office/powerpoint/2010/main" val="7814075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349184" y="-5158"/>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a:ln w="0">
                  <a:noFill/>
                </a:ln>
                <a:solidFill>
                  <a:srgbClr val="000000"/>
                </a:solidFill>
                <a:effectLst/>
                <a:uLnTx/>
                <a:uFillTx/>
                <a:latin typeface="EYInterstate" panose="02000503020000020004" pitchFamily="2" charset="0"/>
                <a:cs typeface="Arial" panose="020B0604020202020204" pitchFamily="34" charset="0"/>
              </a:rPr>
              <a:t>Table of Contents</a:t>
            </a:r>
          </a:p>
        </p:txBody>
      </p:sp>
      <p:cxnSp>
        <p:nvCxnSpPr>
          <p:cNvPr id="9" name="Straight Arrow Connector 8">
            <a:extLst>
              <a:ext uri="{FF2B5EF4-FFF2-40B4-BE49-F238E27FC236}">
                <a16:creationId xmlns:a16="http://schemas.microsoft.com/office/drawing/2014/main" id="{CE0EA485-49A3-4D08-AC46-48F0A11D58BA}"/>
              </a:ext>
            </a:extLst>
          </p:cNvPr>
          <p:cNvCxnSpPr>
            <a:cxnSpLocks/>
          </p:cNvCxnSpPr>
          <p:nvPr/>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graphicFrame>
        <p:nvGraphicFramePr>
          <p:cNvPr id="6" name="Table 5">
            <a:extLst>
              <a:ext uri="{FF2B5EF4-FFF2-40B4-BE49-F238E27FC236}">
                <a16:creationId xmlns:a16="http://schemas.microsoft.com/office/drawing/2014/main" id="{78B1BD31-3AF9-4B81-93FC-7241460106EA}"/>
              </a:ext>
            </a:extLst>
          </p:cNvPr>
          <p:cNvGraphicFramePr>
            <a:graphicFrameLocks noGrp="1"/>
          </p:cNvGraphicFramePr>
          <p:nvPr>
            <p:extLst>
              <p:ext uri="{D42A27DB-BD31-4B8C-83A1-F6EECF244321}">
                <p14:modId xmlns:p14="http://schemas.microsoft.com/office/powerpoint/2010/main" val="236225552"/>
              </p:ext>
            </p:extLst>
          </p:nvPr>
        </p:nvGraphicFramePr>
        <p:xfrm>
          <a:off x="406400" y="2134161"/>
          <a:ext cx="11379200" cy="2478935"/>
        </p:xfrm>
        <a:graphic>
          <a:graphicData uri="http://schemas.openxmlformats.org/drawingml/2006/table">
            <a:tbl>
              <a:tblPr firstRow="1" bandRow="1"/>
              <a:tblGrid>
                <a:gridCol w="9245600">
                  <a:extLst>
                    <a:ext uri="{9D8B030D-6E8A-4147-A177-3AD203B41FA5}">
                      <a16:colId xmlns:a16="http://schemas.microsoft.com/office/drawing/2014/main" val="20000"/>
                    </a:ext>
                  </a:extLst>
                </a:gridCol>
                <a:gridCol w="2133600">
                  <a:extLst>
                    <a:ext uri="{9D8B030D-6E8A-4147-A177-3AD203B41FA5}">
                      <a16:colId xmlns:a16="http://schemas.microsoft.com/office/drawing/2014/main" val="20001"/>
                    </a:ext>
                  </a:extLst>
                </a:gridCol>
              </a:tblGrid>
              <a:tr h="251947">
                <a:tc>
                  <a:txBody>
                    <a:bodyPr/>
                    <a:lstStyle>
                      <a:lvl1pPr marL="0" algn="l" defTabSz="913943" rtl="0" eaLnBrk="1" latinLnBrk="0" hangingPunct="1">
                        <a:defRPr sz="1799" b="1" kern="1200">
                          <a:solidFill>
                            <a:schemeClr val="bg1"/>
                          </a:solidFill>
                          <a:latin typeface="Arial"/>
                        </a:defRPr>
                      </a:lvl1pPr>
                      <a:lvl2pPr marL="456971" algn="l" defTabSz="913943" rtl="0" eaLnBrk="1" latinLnBrk="0" hangingPunct="1">
                        <a:defRPr sz="1799" b="1" kern="1200">
                          <a:solidFill>
                            <a:schemeClr val="bg1"/>
                          </a:solidFill>
                          <a:latin typeface="Arial"/>
                        </a:defRPr>
                      </a:lvl2pPr>
                      <a:lvl3pPr marL="913943" algn="l" defTabSz="913943" rtl="0" eaLnBrk="1" latinLnBrk="0" hangingPunct="1">
                        <a:defRPr sz="1799" b="1" kern="1200">
                          <a:solidFill>
                            <a:schemeClr val="bg1"/>
                          </a:solidFill>
                          <a:latin typeface="Arial"/>
                        </a:defRPr>
                      </a:lvl3pPr>
                      <a:lvl4pPr marL="1370914" algn="l" defTabSz="913943" rtl="0" eaLnBrk="1" latinLnBrk="0" hangingPunct="1">
                        <a:defRPr sz="1799" b="1" kern="1200">
                          <a:solidFill>
                            <a:schemeClr val="bg1"/>
                          </a:solidFill>
                          <a:latin typeface="Arial"/>
                        </a:defRPr>
                      </a:lvl4pPr>
                      <a:lvl5pPr marL="1827886" algn="l" defTabSz="913943" rtl="0" eaLnBrk="1" latinLnBrk="0" hangingPunct="1">
                        <a:defRPr sz="1799" b="1" kern="1200">
                          <a:solidFill>
                            <a:schemeClr val="bg1"/>
                          </a:solidFill>
                          <a:latin typeface="Arial"/>
                        </a:defRPr>
                      </a:lvl5pPr>
                      <a:lvl6pPr marL="2284857" algn="l" defTabSz="913943" rtl="0" eaLnBrk="1" latinLnBrk="0" hangingPunct="1">
                        <a:defRPr sz="1799" b="1" kern="1200">
                          <a:solidFill>
                            <a:schemeClr val="bg1"/>
                          </a:solidFill>
                          <a:latin typeface="Arial"/>
                        </a:defRPr>
                      </a:lvl6pPr>
                      <a:lvl7pPr marL="2741828" algn="l" defTabSz="913943" rtl="0" eaLnBrk="1" latinLnBrk="0" hangingPunct="1">
                        <a:defRPr sz="1799" b="1" kern="1200">
                          <a:solidFill>
                            <a:schemeClr val="bg1"/>
                          </a:solidFill>
                          <a:latin typeface="Arial"/>
                        </a:defRPr>
                      </a:lvl7pPr>
                      <a:lvl8pPr marL="3198800" algn="l" defTabSz="913943" rtl="0" eaLnBrk="1" latinLnBrk="0" hangingPunct="1">
                        <a:defRPr sz="1799" b="1" kern="1200">
                          <a:solidFill>
                            <a:schemeClr val="bg1"/>
                          </a:solidFill>
                          <a:latin typeface="Arial"/>
                        </a:defRPr>
                      </a:lvl8pPr>
                      <a:lvl9pPr marL="3655771" algn="l" defTabSz="913943" rtl="0" eaLnBrk="1" latinLnBrk="0" hangingPunct="1">
                        <a:defRPr sz="1799" b="1" kern="1200">
                          <a:solidFill>
                            <a:schemeClr val="bg1"/>
                          </a:solidFill>
                          <a:latin typeface="Arial"/>
                        </a:defRPr>
                      </a:lvl9pPr>
                    </a:lstStyle>
                    <a:p>
                      <a:pPr marL="0" algn="l" defTabSz="457200" rtl="0" eaLnBrk="1" latinLnBrk="0" hangingPunct="1"/>
                      <a:r>
                        <a:rPr lang="en-US" sz="1600" b="1" kern="1200">
                          <a:solidFill>
                            <a:schemeClr val="bg1"/>
                          </a:solidFill>
                          <a:latin typeface="EYInterstate"/>
                          <a:ea typeface="+mn-ea"/>
                          <a:cs typeface="+mn-cs"/>
                        </a:rPr>
                        <a:t>COVID-19 Vaccine Helpdesk HCP Onboarding/Recipient Bulk Upload Timeline and Key Terms</a:t>
                      </a:r>
                    </a:p>
                  </a:txBody>
                  <a:tcPr marL="121920" marR="121920" marT="0" marB="0"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646464"/>
                    </a:solidFill>
                  </a:tcPr>
                </a:tc>
                <a:tc>
                  <a:txBody>
                    <a:bodyPr/>
                    <a:lstStyle>
                      <a:lvl1pPr marL="0" algn="l" defTabSz="913943" rtl="0" eaLnBrk="1" latinLnBrk="0" hangingPunct="1">
                        <a:defRPr sz="1799" b="1" kern="1200">
                          <a:solidFill>
                            <a:schemeClr val="bg1"/>
                          </a:solidFill>
                          <a:latin typeface="Arial"/>
                        </a:defRPr>
                      </a:lvl1pPr>
                      <a:lvl2pPr marL="456971" algn="l" defTabSz="913943" rtl="0" eaLnBrk="1" latinLnBrk="0" hangingPunct="1">
                        <a:defRPr sz="1799" b="1" kern="1200">
                          <a:solidFill>
                            <a:schemeClr val="bg1"/>
                          </a:solidFill>
                          <a:latin typeface="Arial"/>
                        </a:defRPr>
                      </a:lvl2pPr>
                      <a:lvl3pPr marL="913943" algn="l" defTabSz="913943" rtl="0" eaLnBrk="1" latinLnBrk="0" hangingPunct="1">
                        <a:defRPr sz="1799" b="1" kern="1200">
                          <a:solidFill>
                            <a:schemeClr val="bg1"/>
                          </a:solidFill>
                          <a:latin typeface="Arial"/>
                        </a:defRPr>
                      </a:lvl3pPr>
                      <a:lvl4pPr marL="1370914" algn="l" defTabSz="913943" rtl="0" eaLnBrk="1" latinLnBrk="0" hangingPunct="1">
                        <a:defRPr sz="1799" b="1" kern="1200">
                          <a:solidFill>
                            <a:schemeClr val="bg1"/>
                          </a:solidFill>
                          <a:latin typeface="Arial"/>
                        </a:defRPr>
                      </a:lvl4pPr>
                      <a:lvl5pPr marL="1827886" algn="l" defTabSz="913943" rtl="0" eaLnBrk="1" latinLnBrk="0" hangingPunct="1">
                        <a:defRPr sz="1799" b="1" kern="1200">
                          <a:solidFill>
                            <a:schemeClr val="bg1"/>
                          </a:solidFill>
                          <a:latin typeface="Arial"/>
                        </a:defRPr>
                      </a:lvl5pPr>
                      <a:lvl6pPr marL="2284857" algn="l" defTabSz="913943" rtl="0" eaLnBrk="1" latinLnBrk="0" hangingPunct="1">
                        <a:defRPr sz="1799" b="1" kern="1200">
                          <a:solidFill>
                            <a:schemeClr val="bg1"/>
                          </a:solidFill>
                          <a:latin typeface="Arial"/>
                        </a:defRPr>
                      </a:lvl6pPr>
                      <a:lvl7pPr marL="2741828" algn="l" defTabSz="913943" rtl="0" eaLnBrk="1" latinLnBrk="0" hangingPunct="1">
                        <a:defRPr sz="1799" b="1" kern="1200">
                          <a:solidFill>
                            <a:schemeClr val="bg1"/>
                          </a:solidFill>
                          <a:latin typeface="Arial"/>
                        </a:defRPr>
                      </a:lvl7pPr>
                      <a:lvl8pPr marL="3198800" algn="l" defTabSz="913943" rtl="0" eaLnBrk="1" latinLnBrk="0" hangingPunct="1">
                        <a:defRPr sz="1799" b="1" kern="1200">
                          <a:solidFill>
                            <a:schemeClr val="bg1"/>
                          </a:solidFill>
                          <a:latin typeface="Arial"/>
                        </a:defRPr>
                      </a:lvl8pPr>
                      <a:lvl9pPr marL="3655771" algn="l" defTabSz="913943" rtl="0" eaLnBrk="1" latinLnBrk="0" hangingPunct="1">
                        <a:defRPr sz="1799" b="1" kern="1200">
                          <a:solidFill>
                            <a:schemeClr val="bg1"/>
                          </a:solidFill>
                          <a:latin typeface="Arial"/>
                        </a:defRPr>
                      </a:lvl9pPr>
                    </a:lstStyle>
                    <a:p>
                      <a:pPr lvl="1" algn="r"/>
                      <a:r>
                        <a:rPr lang="en-US" sz="1600" b="1" kern="1200">
                          <a:solidFill>
                            <a:schemeClr val="bg1"/>
                          </a:solidFill>
                          <a:latin typeface="EYInterstate"/>
                          <a:ea typeface="+mn-ea"/>
                          <a:cs typeface="+mn-cs"/>
                        </a:rPr>
                        <a:t>3 – 5</a:t>
                      </a:r>
                    </a:p>
                  </a:txBody>
                  <a:tcPr marL="121920" marR="121920"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646464"/>
                    </a:solidFill>
                  </a:tcPr>
                </a:tc>
                <a:extLst>
                  <a:ext uri="{0D108BD9-81ED-4DB2-BD59-A6C34878D82A}">
                    <a16:rowId xmlns:a16="http://schemas.microsoft.com/office/drawing/2014/main" val="10000"/>
                  </a:ext>
                </a:extLst>
              </a:tr>
              <a:tr h="229043">
                <a:tc>
                  <a:txBody>
                    <a:bodyPr/>
                    <a:lstStyle/>
                    <a:p>
                      <a:pPr marL="0" indent="0" algn="l" defTabSz="457200" rtl="0" eaLnBrk="1" latinLnBrk="0" hangingPunct="1">
                        <a:buFont typeface="Arial" panose="020B0604020202020204" pitchFamily="34" charset="0"/>
                        <a:buNone/>
                      </a:pPr>
                      <a:endParaRPr lang="en-US" sz="1600" b="0" kern="1200">
                        <a:solidFill>
                          <a:schemeClr val="tx1"/>
                        </a:solidFill>
                        <a:latin typeface="EYInterstate"/>
                        <a:ea typeface="+mn-ea"/>
                        <a:cs typeface="+mn-cs"/>
                      </a:endParaRPr>
                    </a:p>
                  </a:txBody>
                  <a:tcPr marL="121920" marR="121920" marT="0" marB="0"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pPr lvl="1" algn="r"/>
                      <a:endParaRPr lang="en-US" sz="1600" b="0">
                        <a:solidFill>
                          <a:schemeClr val="tx1">
                            <a:lumMod val="65000"/>
                            <a:lumOff val="35000"/>
                          </a:schemeClr>
                        </a:solidFill>
                        <a:latin typeface="EYInterstate" panose="02000503020000020004" pitchFamily="2" charset="0"/>
                      </a:endParaRPr>
                    </a:p>
                  </a:txBody>
                  <a:tcPr marL="121920" marR="121920"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2409515071"/>
                  </a:ext>
                </a:extLst>
              </a:tr>
              <a:tr h="251947">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r>
                        <a:rPr lang="en-US" sz="1600" b="1">
                          <a:solidFill>
                            <a:schemeClr val="bg1"/>
                          </a:solidFill>
                          <a:latin typeface="EYInterstate"/>
                        </a:rPr>
                        <a:t>Registering for a ServiceNow Helpdesk Portal Account</a:t>
                      </a:r>
                    </a:p>
                  </a:txBody>
                  <a:tcPr marL="121920" marR="121920" marT="0" marB="0"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646464"/>
                    </a:solid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marL="457200" lvl="1" algn="r" defTabSz="457200" rtl="0" eaLnBrk="1" latinLnBrk="0" hangingPunct="1"/>
                      <a:r>
                        <a:rPr lang="en-US" sz="1600" b="1" kern="1200">
                          <a:solidFill>
                            <a:schemeClr val="bg1"/>
                          </a:solidFill>
                          <a:latin typeface="EYInterstate"/>
                          <a:ea typeface="+mn-ea"/>
                          <a:cs typeface="+mn-cs"/>
                        </a:rPr>
                        <a:t>6 – 10</a:t>
                      </a:r>
                    </a:p>
                  </a:txBody>
                  <a:tcPr marL="121920" marR="121920"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646464"/>
                    </a:solidFill>
                  </a:tcPr>
                </a:tc>
                <a:extLst>
                  <a:ext uri="{0D108BD9-81ED-4DB2-BD59-A6C34878D82A}">
                    <a16:rowId xmlns:a16="http://schemas.microsoft.com/office/drawing/2014/main" val="10004"/>
                  </a:ext>
                </a:extLst>
              </a:tr>
              <a:tr h="229043">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marL="171450" indent="-171450" algn="l" defTabSz="457200" rtl="0" eaLnBrk="1" latinLnBrk="0" hangingPunct="1">
                        <a:buFont typeface="Arial" panose="020B0604020202020204" pitchFamily="34" charset="0"/>
                        <a:buChar char="•"/>
                      </a:pPr>
                      <a:endParaRPr lang="en-US" sz="1600" b="0" kern="1200">
                        <a:solidFill>
                          <a:schemeClr val="tx1"/>
                        </a:solidFill>
                        <a:latin typeface="EYInterstate"/>
                        <a:ea typeface="+mn-ea"/>
                        <a:cs typeface="+mn-cs"/>
                      </a:endParaRPr>
                    </a:p>
                  </a:txBody>
                  <a:tcPr marL="121920" marR="121920" marT="0" marB="0"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marL="457200" lvl="1" algn="r" defTabSz="457200" rtl="0" eaLnBrk="1" latinLnBrk="0" hangingPunct="1"/>
                      <a:endParaRPr lang="en-US" sz="1600" b="0" kern="1200">
                        <a:solidFill>
                          <a:schemeClr val="tx1">
                            <a:lumMod val="65000"/>
                            <a:lumOff val="35000"/>
                          </a:schemeClr>
                        </a:solidFill>
                        <a:latin typeface="EYInterstate" panose="02000503020000020004" pitchFamily="2" charset="0"/>
                        <a:ea typeface="+mn-ea"/>
                        <a:cs typeface="+mn-cs"/>
                      </a:endParaRPr>
                    </a:p>
                  </a:txBody>
                  <a:tcPr marL="121920" marR="121920"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3915150173"/>
                  </a:ext>
                </a:extLst>
              </a:tr>
              <a:tr h="251947">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r>
                        <a:rPr lang="en-US" sz="1600" b="1">
                          <a:solidFill>
                            <a:schemeClr val="bg1"/>
                          </a:solidFill>
                          <a:latin typeface="EYInterstate"/>
                        </a:rPr>
                        <a:t>Logging In</a:t>
                      </a:r>
                    </a:p>
                  </a:txBody>
                  <a:tcPr marL="121920" marR="121920" marT="0" marB="0"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646464"/>
                    </a:solid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marL="457200" lvl="1" algn="r" defTabSz="457200" rtl="0" eaLnBrk="1" latinLnBrk="0" hangingPunct="1"/>
                      <a:r>
                        <a:rPr lang="en-US" sz="1600" b="1" kern="1200">
                          <a:solidFill>
                            <a:schemeClr val="bg1"/>
                          </a:solidFill>
                          <a:latin typeface="EYInterstate"/>
                          <a:ea typeface="+mn-ea"/>
                          <a:cs typeface="+mn-cs"/>
                        </a:rPr>
                        <a:t>11 - 13</a:t>
                      </a:r>
                    </a:p>
                  </a:txBody>
                  <a:tcPr marL="121920" marR="121920"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646464"/>
                    </a:solidFill>
                  </a:tcPr>
                </a:tc>
                <a:extLst>
                  <a:ext uri="{0D108BD9-81ED-4DB2-BD59-A6C34878D82A}">
                    <a16:rowId xmlns:a16="http://schemas.microsoft.com/office/drawing/2014/main" val="10012"/>
                  </a:ext>
                </a:extLst>
              </a:tr>
              <a:tr h="229043">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marL="171450" marR="0" lvl="0" indent="-171450" algn="l" defTabSz="91394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a:latin typeface="EYInterstate"/>
                        <a:cs typeface="Calibri"/>
                      </a:endParaRPr>
                    </a:p>
                  </a:txBody>
                  <a:tcPr marL="121920" marR="121920" marT="0" marB="0"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marL="457200" lvl="1" algn="r" defTabSz="457200" rtl="0" eaLnBrk="1" latinLnBrk="0" hangingPunct="1"/>
                      <a:endParaRPr lang="en-US" sz="1600" b="0" kern="1200">
                        <a:solidFill>
                          <a:schemeClr val="tx1">
                            <a:lumMod val="65000"/>
                            <a:lumOff val="35000"/>
                          </a:schemeClr>
                        </a:solidFill>
                        <a:latin typeface="EYInterstate" panose="02000503020000020004" pitchFamily="2" charset="0"/>
                        <a:ea typeface="+mn-ea"/>
                        <a:cs typeface="+mn-cs"/>
                      </a:endParaRPr>
                    </a:p>
                  </a:txBody>
                  <a:tcPr marL="121920" marR="121920"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15"/>
                  </a:ext>
                </a:extLst>
              </a:tr>
              <a:tr h="229043">
                <a:tc>
                  <a:txBody>
                    <a:bodyPr/>
                    <a:lstStyle/>
                    <a:p>
                      <a:pPr marL="0" marR="0" lvl="0" indent="0" algn="l" defTabSz="91394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a:solidFill>
                            <a:schemeClr val="bg1"/>
                          </a:solidFill>
                          <a:latin typeface="EYInterstate"/>
                          <a:ea typeface="+mn-ea"/>
                          <a:cs typeface="+mn-cs"/>
                        </a:rPr>
                        <a:t>Submitting an HCP Onboarding and Recipient Bulk Upload Form</a:t>
                      </a:r>
                    </a:p>
                  </a:txBody>
                  <a:tcPr marL="121920" marR="121920" marT="0" marB="0"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646464"/>
                    </a:solidFill>
                  </a:tcPr>
                </a:tc>
                <a:tc>
                  <a:txBody>
                    <a:bodyPr/>
                    <a:lstStyle/>
                    <a:p>
                      <a:pPr marL="0" lvl="1" algn="r" rtl="0" eaLnBrk="1" latinLnBrk="0" hangingPunct="1"/>
                      <a:r>
                        <a:rPr lang="en-US" sz="1600" b="1" kern="1200">
                          <a:solidFill>
                            <a:schemeClr val="bg1"/>
                          </a:solidFill>
                          <a:latin typeface="EYInterstate"/>
                          <a:ea typeface="+mn-ea"/>
                          <a:cs typeface="+mn-cs"/>
                        </a:rPr>
                        <a:t>14 – 20</a:t>
                      </a:r>
                    </a:p>
                  </a:txBody>
                  <a:tcPr marL="121920" marR="121920"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646464"/>
                    </a:solidFill>
                  </a:tcPr>
                </a:tc>
                <a:extLst>
                  <a:ext uri="{0D108BD9-81ED-4DB2-BD59-A6C34878D82A}">
                    <a16:rowId xmlns:a16="http://schemas.microsoft.com/office/drawing/2014/main" val="3188928256"/>
                  </a:ext>
                </a:extLst>
              </a:tr>
              <a:tr h="229043">
                <a:tc>
                  <a:txBody>
                    <a:bodyPr/>
                    <a:lstStyle/>
                    <a:p>
                      <a:pPr marL="0" marR="0" lvl="0" indent="0" algn="l" defTabSz="913943"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a:latin typeface="EYInterstate"/>
                        <a:cs typeface="Calibri"/>
                      </a:endParaRPr>
                    </a:p>
                  </a:txBody>
                  <a:tcPr marL="121920" marR="121920" marT="0" marB="0"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p>
                      <a:pPr marL="457200" lvl="1" algn="r" defTabSz="457200" rtl="0" eaLnBrk="1" latinLnBrk="0" hangingPunct="1"/>
                      <a:endParaRPr lang="en-US" sz="1600" b="0" kern="1200">
                        <a:solidFill>
                          <a:schemeClr val="tx1">
                            <a:lumMod val="65000"/>
                            <a:lumOff val="35000"/>
                          </a:schemeClr>
                        </a:solidFill>
                        <a:latin typeface="EYInterstate" panose="02000503020000020004" pitchFamily="2" charset="0"/>
                        <a:ea typeface="+mn-ea"/>
                        <a:cs typeface="+mn-cs"/>
                      </a:endParaRPr>
                    </a:p>
                  </a:txBody>
                  <a:tcPr marL="121920" marR="121920"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2992764270"/>
                  </a:ext>
                </a:extLst>
              </a:tr>
              <a:tr h="251947">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r>
                        <a:rPr lang="en-US" sz="1600" b="1" baseline="0">
                          <a:solidFill>
                            <a:schemeClr val="bg1"/>
                          </a:solidFill>
                          <a:latin typeface="EYInterstate"/>
                        </a:rPr>
                        <a:t>Appendix</a:t>
                      </a:r>
                    </a:p>
                  </a:txBody>
                  <a:tcPr marL="121920" marR="121920" marT="0" marB="0">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646464"/>
                    </a:solid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marL="457200" lvl="1" algn="r" rtl="0" eaLnBrk="1" latinLnBrk="0" hangingPunct="1"/>
                      <a:r>
                        <a:rPr lang="en-US" sz="1600" b="1" kern="1200">
                          <a:solidFill>
                            <a:schemeClr val="bg1"/>
                          </a:solidFill>
                          <a:latin typeface="EYInterstate"/>
                          <a:ea typeface="+mn-ea"/>
                          <a:cs typeface="+mn-cs"/>
                        </a:rPr>
                        <a:t>21 - 22</a:t>
                      </a:r>
                    </a:p>
                  </a:txBody>
                  <a:tcPr marL="121920" marR="121920"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rgbClr val="646464"/>
                    </a:solidFill>
                  </a:tcPr>
                </a:tc>
                <a:extLst>
                  <a:ext uri="{0D108BD9-81ED-4DB2-BD59-A6C34878D82A}">
                    <a16:rowId xmlns:a16="http://schemas.microsoft.com/office/drawing/2014/main" val="10016"/>
                  </a:ext>
                </a:extLst>
              </a:tr>
              <a:tr h="251947">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marL="0" indent="0">
                        <a:buFont typeface="Arial" panose="020B0604020202020204" pitchFamily="34" charset="0"/>
                        <a:buNone/>
                      </a:pPr>
                      <a:endParaRPr lang="en-US" sz="1200" b="0">
                        <a:latin typeface="EYInterstate"/>
                      </a:endParaRPr>
                    </a:p>
                  </a:txBody>
                  <a:tcPr marL="121920" marR="121920" marT="0" marB="0">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tc>
                  <a:txBody>
                    <a:bodyPr/>
                    <a:lstStyle>
                      <a:lvl1pPr marL="0" algn="l" defTabSz="913943" rtl="0" eaLnBrk="1" latinLnBrk="0" hangingPunct="1">
                        <a:defRPr sz="1799" kern="1200">
                          <a:solidFill>
                            <a:schemeClr val="tx1"/>
                          </a:solidFill>
                          <a:latin typeface="Arial"/>
                        </a:defRPr>
                      </a:lvl1pPr>
                      <a:lvl2pPr marL="456971" algn="l" defTabSz="913943" rtl="0" eaLnBrk="1" latinLnBrk="0" hangingPunct="1">
                        <a:defRPr sz="1799" kern="1200">
                          <a:solidFill>
                            <a:schemeClr val="tx1"/>
                          </a:solidFill>
                          <a:latin typeface="Arial"/>
                        </a:defRPr>
                      </a:lvl2pPr>
                      <a:lvl3pPr marL="913943" algn="l" defTabSz="913943" rtl="0" eaLnBrk="1" latinLnBrk="0" hangingPunct="1">
                        <a:defRPr sz="1799" kern="1200">
                          <a:solidFill>
                            <a:schemeClr val="tx1"/>
                          </a:solidFill>
                          <a:latin typeface="Arial"/>
                        </a:defRPr>
                      </a:lvl3pPr>
                      <a:lvl4pPr marL="1370914" algn="l" defTabSz="913943" rtl="0" eaLnBrk="1" latinLnBrk="0" hangingPunct="1">
                        <a:defRPr sz="1799" kern="1200">
                          <a:solidFill>
                            <a:schemeClr val="tx1"/>
                          </a:solidFill>
                          <a:latin typeface="Arial"/>
                        </a:defRPr>
                      </a:lvl4pPr>
                      <a:lvl5pPr marL="1827886" algn="l" defTabSz="913943" rtl="0" eaLnBrk="1" latinLnBrk="0" hangingPunct="1">
                        <a:defRPr sz="1799" kern="1200">
                          <a:solidFill>
                            <a:schemeClr val="tx1"/>
                          </a:solidFill>
                          <a:latin typeface="Arial"/>
                        </a:defRPr>
                      </a:lvl5pPr>
                      <a:lvl6pPr marL="2284857" algn="l" defTabSz="913943" rtl="0" eaLnBrk="1" latinLnBrk="0" hangingPunct="1">
                        <a:defRPr sz="1799" kern="1200">
                          <a:solidFill>
                            <a:schemeClr val="tx1"/>
                          </a:solidFill>
                          <a:latin typeface="Arial"/>
                        </a:defRPr>
                      </a:lvl6pPr>
                      <a:lvl7pPr marL="2741828" algn="l" defTabSz="913943" rtl="0" eaLnBrk="1" latinLnBrk="0" hangingPunct="1">
                        <a:defRPr sz="1799" kern="1200">
                          <a:solidFill>
                            <a:schemeClr val="tx1"/>
                          </a:solidFill>
                          <a:latin typeface="Arial"/>
                        </a:defRPr>
                      </a:lvl7pPr>
                      <a:lvl8pPr marL="3198800" algn="l" defTabSz="913943" rtl="0" eaLnBrk="1" latinLnBrk="0" hangingPunct="1">
                        <a:defRPr sz="1799" kern="1200">
                          <a:solidFill>
                            <a:schemeClr val="tx1"/>
                          </a:solidFill>
                          <a:latin typeface="Arial"/>
                        </a:defRPr>
                      </a:lvl8pPr>
                      <a:lvl9pPr marL="3655771" algn="l" defTabSz="913943" rtl="0" eaLnBrk="1" latinLnBrk="0" hangingPunct="1">
                        <a:defRPr sz="1799" kern="1200">
                          <a:solidFill>
                            <a:schemeClr val="tx1"/>
                          </a:solidFill>
                          <a:latin typeface="Arial"/>
                        </a:defRPr>
                      </a:lvl9pPr>
                    </a:lstStyle>
                    <a:p>
                      <a:pPr marL="457200" lvl="1" algn="r" defTabSz="457200" rtl="0" eaLnBrk="1" latinLnBrk="0" hangingPunct="1"/>
                      <a:endParaRPr lang="en-US" sz="1100" b="0" kern="1200">
                        <a:solidFill>
                          <a:schemeClr val="tx1">
                            <a:lumMod val="65000"/>
                            <a:lumOff val="35000"/>
                          </a:schemeClr>
                        </a:solidFill>
                        <a:latin typeface="EYInterstate" panose="02000503020000020004" pitchFamily="2" charset="0"/>
                        <a:ea typeface="+mn-ea"/>
                        <a:cs typeface="+mn-cs"/>
                      </a:endParaRPr>
                    </a:p>
                  </a:txBody>
                  <a:tcPr marL="121920" marR="121920"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503140233"/>
                  </a:ext>
                </a:extLst>
              </a:tr>
            </a:tbl>
          </a:graphicData>
        </a:graphic>
      </p:graphicFrame>
      <p:sp>
        <p:nvSpPr>
          <p:cNvPr id="11" name="TextBox 10">
            <a:extLst>
              <a:ext uri="{FF2B5EF4-FFF2-40B4-BE49-F238E27FC236}">
                <a16:creationId xmlns:a16="http://schemas.microsoft.com/office/drawing/2014/main" id="{8C71F15F-1DBD-450C-878F-91B44D00C7A3}"/>
              </a:ext>
            </a:extLst>
          </p:cNvPr>
          <p:cNvSpPr txBox="1"/>
          <p:nvPr/>
        </p:nvSpPr>
        <p:spPr>
          <a:xfrm>
            <a:off x="11037456" y="1804903"/>
            <a:ext cx="786500" cy="369332"/>
          </a:xfrm>
          <a:prstGeom prst="rect">
            <a:avLst/>
          </a:prstGeom>
        </p:spPr>
        <p:txBody>
          <a:bodyPr vert="horz" wrap="square" lIns="121920" tIns="60960" rIns="121920" bIns="6096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00000"/>
                </a:solidFill>
                <a:effectLst/>
                <a:uLnTx/>
                <a:uFillTx/>
              </a:rPr>
              <a:t>Pages</a:t>
            </a:r>
          </a:p>
        </p:txBody>
      </p:sp>
    </p:spTree>
    <p:extLst>
      <p:ext uri="{BB962C8B-B14F-4D97-AF65-F5344CB8AC3E}">
        <p14:creationId xmlns:p14="http://schemas.microsoft.com/office/powerpoint/2010/main" val="31232799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158C4595-E1F3-42A4-BF40-CF304C43227C}"/>
              </a:ext>
            </a:extLst>
          </p:cNvPr>
          <p:cNvSpPr txBox="1"/>
          <p:nvPr/>
        </p:nvSpPr>
        <p:spPr>
          <a:xfrm>
            <a:off x="5938515" y="1426372"/>
            <a:ext cx="3543361" cy="923330"/>
          </a:xfrm>
          <a:prstGeom prst="rect">
            <a:avLst/>
          </a:prstGeom>
          <a:noFill/>
        </p:spPr>
        <p:txBody>
          <a:bodyPr wrap="square" rtlCol="0">
            <a:spAutoFit/>
          </a:bodyPr>
          <a:lstStyle/>
          <a:p>
            <a:r>
              <a:rPr lang="en-US">
                <a:latin typeface="EYInterstate" panose="02000503020000020004" pitchFamily="2" charset="0"/>
              </a:rPr>
              <a:t>You should receive your Case Ticket Number and associated notifications via email. </a:t>
            </a:r>
          </a:p>
        </p:txBody>
      </p:sp>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6"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lang="en-US" sz="2000" b="1">
                <a:ln w="0">
                  <a:noFill/>
                </a:ln>
                <a:solidFill>
                  <a:srgbClr val="000000"/>
                </a:solidFill>
                <a:latin typeface="EYInterstate"/>
                <a:cs typeface="Arial"/>
              </a:rPr>
              <a:t>After your ticket is submitted…</a:t>
            </a:r>
            <a:endParaRPr lang="en-US" sz="2000" b="1" i="0" u="none" strike="noStrike" kern="1200" cap="none" spc="0" normalizeH="0" baseline="0" noProof="0">
              <a:ln w="0">
                <a:noFill/>
              </a:ln>
              <a:solidFill>
                <a:srgbClr val="000000"/>
              </a:solidFill>
              <a:effectLst/>
              <a:uLnTx/>
              <a:uFillTx/>
              <a:latin typeface="EYInterstate"/>
              <a:cs typeface="Arial"/>
            </a:endParaRPr>
          </a:p>
        </p:txBody>
      </p:sp>
      <p:sp>
        <p:nvSpPr>
          <p:cNvPr id="11" name="Freeform 43">
            <a:extLst>
              <a:ext uri="{FF2B5EF4-FFF2-40B4-BE49-F238E27FC236}">
                <a16:creationId xmlns:a16="http://schemas.microsoft.com/office/drawing/2014/main" id="{F05B4A8E-78C0-42FA-AC31-D4D29053386D}"/>
              </a:ext>
            </a:extLst>
          </p:cNvPr>
          <p:cNvSpPr>
            <a:spLocks/>
          </p:cNvSpPr>
          <p:nvPr/>
        </p:nvSpPr>
        <p:spPr>
          <a:xfrm rot="5400000">
            <a:off x="6928233" y="3671288"/>
            <a:ext cx="5483425" cy="45719"/>
          </a:xfrm>
          <a:custGeom>
            <a:avLst/>
            <a:gdLst>
              <a:gd name="connsiteX0" fmla="*/ 0 w 11052722"/>
              <a:gd name="connsiteY0" fmla="*/ 0 h 120650"/>
              <a:gd name="connsiteX1" fmla="*/ 10692722 w 11052722"/>
              <a:gd name="connsiteY1" fmla="*/ 0 h 120650"/>
              <a:gd name="connsiteX2" fmla="*/ 10747924 w 11052722"/>
              <a:gd name="connsiteY2" fmla="*/ 0 h 120650"/>
              <a:gd name="connsiteX3" fmla="*/ 10992397 w 11052722"/>
              <a:gd name="connsiteY3" fmla="*/ 0 h 120650"/>
              <a:gd name="connsiteX4" fmla="*/ 11052722 w 11052722"/>
              <a:gd name="connsiteY4" fmla="*/ 60325 h 120650"/>
              <a:gd name="connsiteX5" fmla="*/ 10992397 w 11052722"/>
              <a:gd name="connsiteY5" fmla="*/ 120650 h 120650"/>
              <a:gd name="connsiteX6" fmla="*/ 10747924 w 11052722"/>
              <a:gd name="connsiteY6" fmla="*/ 120650 h 120650"/>
              <a:gd name="connsiteX7" fmla="*/ 10692722 w 11052722"/>
              <a:gd name="connsiteY7" fmla="*/ 120650 h 120650"/>
              <a:gd name="connsiteX8" fmla="*/ 0 w 11052722"/>
              <a:gd name="connsiteY8" fmla="*/ 120650 h 120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52722" h="120650">
                <a:moveTo>
                  <a:pt x="0" y="0"/>
                </a:moveTo>
                <a:lnTo>
                  <a:pt x="10692722" y="0"/>
                </a:lnTo>
                <a:lnTo>
                  <a:pt x="10747924" y="0"/>
                </a:lnTo>
                <a:lnTo>
                  <a:pt x="10992397" y="0"/>
                </a:lnTo>
                <a:lnTo>
                  <a:pt x="11052722" y="60325"/>
                </a:lnTo>
                <a:lnTo>
                  <a:pt x="10992397" y="120650"/>
                </a:lnTo>
                <a:lnTo>
                  <a:pt x="10747924" y="120650"/>
                </a:lnTo>
                <a:lnTo>
                  <a:pt x="10692722" y="120650"/>
                </a:lnTo>
                <a:lnTo>
                  <a:pt x="0" y="120650"/>
                </a:lnTo>
                <a:close/>
              </a:path>
            </a:pathLst>
          </a:custGeom>
          <a:solidFill>
            <a:schemeClr val="bg1">
              <a:lumMod val="8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 name="object 4">
            <a:extLst>
              <a:ext uri="{FF2B5EF4-FFF2-40B4-BE49-F238E27FC236}">
                <a16:creationId xmlns:a16="http://schemas.microsoft.com/office/drawing/2014/main" id="{97484700-38C9-49CC-AFE3-401E5C2E2E73}"/>
              </a:ext>
            </a:extLst>
          </p:cNvPr>
          <p:cNvSpPr txBox="1"/>
          <p:nvPr/>
        </p:nvSpPr>
        <p:spPr>
          <a:xfrm>
            <a:off x="683803" y="1442661"/>
            <a:ext cx="3543361" cy="1397819"/>
          </a:xfrm>
          <a:prstGeom prst="rect">
            <a:avLst/>
          </a:prstGeom>
        </p:spPr>
        <p:txBody>
          <a:bodyPr vert="horz" wrap="square" lIns="0" tIns="12700" rIns="0" bIns="0" rtlCol="0" anchor="t">
            <a:spAutoFit/>
          </a:bodyPr>
          <a:lstStyle/>
          <a:p>
            <a:pPr marL="12065" marR="5080" defTabSz="457200">
              <a:spcAft>
                <a:spcPts val="600"/>
              </a:spcAft>
              <a:tabLst>
                <a:tab pos="241300" algn="l"/>
              </a:tabLst>
              <a:defRPr/>
            </a:pPr>
            <a:r>
              <a:rPr lang="en-US">
                <a:latin typeface="EYInterstate" panose="02000503020000020004" pitchFamily="2" charset="0"/>
              </a:rPr>
              <a:t>You will be brought to the screen shown </a:t>
            </a:r>
            <a:r>
              <a:rPr lang="en-US" b="1">
                <a:latin typeface="EYInterstate" panose="02000503020000020004" pitchFamily="2" charset="0"/>
              </a:rPr>
              <a:t>below</a:t>
            </a:r>
            <a:r>
              <a:rPr lang="en-US">
                <a:latin typeface="EYInterstate" panose="02000503020000020004" pitchFamily="2" charset="0"/>
              </a:rPr>
              <a:t>. This screen shows you your ticket’s lifespan and will be updated when any updates to your ticket become available.</a:t>
            </a:r>
          </a:p>
        </p:txBody>
      </p:sp>
      <p:sp>
        <p:nvSpPr>
          <p:cNvPr id="12" name="Rectangle 11">
            <a:extLst>
              <a:ext uri="{FF2B5EF4-FFF2-40B4-BE49-F238E27FC236}">
                <a16:creationId xmlns:a16="http://schemas.microsoft.com/office/drawing/2014/main" id="{E6B17F7D-B21E-4888-915F-C4D114275924}"/>
              </a:ext>
            </a:extLst>
          </p:cNvPr>
          <p:cNvSpPr/>
          <p:nvPr/>
        </p:nvSpPr>
        <p:spPr>
          <a:xfrm>
            <a:off x="9722650" y="982220"/>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Audience</a:t>
            </a:r>
          </a:p>
        </p:txBody>
      </p:sp>
      <p:sp>
        <p:nvSpPr>
          <p:cNvPr id="14" name="Rectangle 13">
            <a:extLst>
              <a:ext uri="{FF2B5EF4-FFF2-40B4-BE49-F238E27FC236}">
                <a16:creationId xmlns:a16="http://schemas.microsoft.com/office/drawing/2014/main" id="{C8790A2E-14EC-431A-8D3D-A0C0112FFD41}"/>
              </a:ext>
            </a:extLst>
          </p:cNvPr>
          <p:cNvSpPr/>
          <p:nvPr/>
        </p:nvSpPr>
        <p:spPr>
          <a:xfrm>
            <a:off x="9858015" y="1438289"/>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Providers</a:t>
            </a:r>
          </a:p>
        </p:txBody>
      </p:sp>
      <p:sp>
        <p:nvSpPr>
          <p:cNvPr id="3" name="TextBox 2">
            <a:extLst>
              <a:ext uri="{FF2B5EF4-FFF2-40B4-BE49-F238E27FC236}">
                <a16:creationId xmlns:a16="http://schemas.microsoft.com/office/drawing/2014/main" id="{B5B486A6-990C-4AE6-B9D6-6C7ACECE66F4}"/>
              </a:ext>
            </a:extLst>
          </p:cNvPr>
          <p:cNvSpPr txBox="1"/>
          <p:nvPr/>
        </p:nvSpPr>
        <p:spPr>
          <a:xfrm>
            <a:off x="393723" y="3444282"/>
            <a:ext cx="1369688" cy="238527"/>
          </a:xfrm>
          <a:prstGeom prst="rect">
            <a:avLst/>
          </a:prstGeom>
          <a:solidFill>
            <a:srgbClr val="F5F5F5"/>
          </a:solidFill>
        </p:spPr>
        <p:txBody>
          <a:bodyPr wrap="square" rtlCol="0">
            <a:spAutoFit/>
          </a:bodyPr>
          <a:lstStyle/>
          <a:p>
            <a:r>
              <a:rPr lang="en-US" sz="950" b="1">
                <a:solidFill>
                  <a:schemeClr val="bg2">
                    <a:lumMod val="50000"/>
                  </a:schemeClr>
                </a:solidFill>
              </a:rPr>
              <a:t>HCP User Onboarding </a:t>
            </a:r>
          </a:p>
        </p:txBody>
      </p:sp>
      <p:sp>
        <p:nvSpPr>
          <p:cNvPr id="4" name="TextBox 3">
            <a:extLst>
              <a:ext uri="{FF2B5EF4-FFF2-40B4-BE49-F238E27FC236}">
                <a16:creationId xmlns:a16="http://schemas.microsoft.com/office/drawing/2014/main" id="{15F9C3BD-016D-4D09-ABF1-AAFBC9D136B5}"/>
              </a:ext>
            </a:extLst>
          </p:cNvPr>
          <p:cNvSpPr txBox="1"/>
          <p:nvPr/>
        </p:nvSpPr>
        <p:spPr>
          <a:xfrm>
            <a:off x="5712315" y="2951913"/>
            <a:ext cx="3769561" cy="3693319"/>
          </a:xfrm>
          <a:prstGeom prst="rect">
            <a:avLst/>
          </a:prstGeom>
          <a:noFill/>
        </p:spPr>
        <p:txBody>
          <a:bodyPr wrap="square" rtlCol="0">
            <a:spAutoFit/>
          </a:bodyPr>
          <a:lstStyle/>
          <a:p>
            <a:pPr marL="12065" marR="5080" defTabSz="457200">
              <a:spcAft>
                <a:spcPts val="600"/>
              </a:spcAft>
              <a:tabLst>
                <a:tab pos="241300" algn="l"/>
              </a:tabLst>
              <a:defRPr/>
            </a:pPr>
            <a:r>
              <a:rPr lang="en-US">
                <a:latin typeface="EYInterstate" panose="02000503020000020004" pitchFamily="2" charset="0"/>
              </a:rPr>
              <a:t>When the users included in the file have been provisioned for CVMS access, they will receive an email informing them of such and providing them with the link to the respective portal and their login credentials. </a:t>
            </a:r>
          </a:p>
          <a:p>
            <a:pPr marL="12065" marR="5080" defTabSz="457200">
              <a:spcAft>
                <a:spcPts val="600"/>
              </a:spcAft>
              <a:tabLst>
                <a:tab pos="241300" algn="l"/>
              </a:tabLst>
              <a:defRPr/>
            </a:pPr>
            <a:endParaRPr lang="en-US" sz="1400" b="1">
              <a:solidFill>
                <a:srgbClr val="000000"/>
              </a:solidFill>
              <a:latin typeface="EYInterstate" panose="02000503020000020004" pitchFamily="2" charset="0"/>
            </a:endParaRPr>
          </a:p>
          <a:p>
            <a:pPr marL="12065" marR="5080" defTabSz="457200">
              <a:spcAft>
                <a:spcPts val="600"/>
              </a:spcAft>
              <a:tabLst>
                <a:tab pos="241300" algn="l"/>
              </a:tabLst>
              <a:defRPr/>
            </a:pPr>
            <a:r>
              <a:rPr lang="en-US" sz="1400" b="1">
                <a:solidFill>
                  <a:srgbClr val="000000"/>
                </a:solidFill>
                <a:latin typeface="EYInterstate" panose="02000503020000020004" pitchFamily="2" charset="0"/>
              </a:rPr>
              <a:t>Note: If you have not received an email in 2-3 business days, feel free to submit a helpdesk ticket to request an update. Most likely, there is no problem with the submission and the approval is just delayed, but it doesn’t hurt to check!</a:t>
            </a:r>
          </a:p>
        </p:txBody>
      </p:sp>
      <p:sp>
        <p:nvSpPr>
          <p:cNvPr id="5" name="TextBox 4">
            <a:extLst>
              <a:ext uri="{FF2B5EF4-FFF2-40B4-BE49-F238E27FC236}">
                <a16:creationId xmlns:a16="http://schemas.microsoft.com/office/drawing/2014/main" id="{26E0D95D-3DB6-4A31-A309-C8DDA1B89AFB}"/>
              </a:ext>
            </a:extLst>
          </p:cNvPr>
          <p:cNvSpPr txBox="1"/>
          <p:nvPr/>
        </p:nvSpPr>
        <p:spPr>
          <a:xfrm>
            <a:off x="393723" y="1057040"/>
            <a:ext cx="1471568" cy="369332"/>
          </a:xfrm>
          <a:prstGeom prst="rect">
            <a:avLst/>
          </a:prstGeom>
          <a:noFill/>
        </p:spPr>
        <p:txBody>
          <a:bodyPr wrap="square" rtlCol="0">
            <a:spAutoFit/>
          </a:bodyPr>
          <a:lstStyle/>
          <a:p>
            <a:r>
              <a:rPr lang="en-US" b="1">
                <a:latin typeface="EYInterstate" panose="02000503020000020004" pitchFamily="2" charset="0"/>
              </a:rPr>
              <a:t>1. Instantly</a:t>
            </a:r>
            <a:endParaRPr lang="en-US" b="1"/>
          </a:p>
        </p:txBody>
      </p:sp>
      <p:sp>
        <p:nvSpPr>
          <p:cNvPr id="6" name="TextBox 5">
            <a:extLst>
              <a:ext uri="{FF2B5EF4-FFF2-40B4-BE49-F238E27FC236}">
                <a16:creationId xmlns:a16="http://schemas.microsoft.com/office/drawing/2014/main" id="{BBC6B144-D3B5-4229-9EBF-D670E273DD09}"/>
              </a:ext>
            </a:extLst>
          </p:cNvPr>
          <p:cNvSpPr txBox="1"/>
          <p:nvPr/>
        </p:nvSpPr>
        <p:spPr>
          <a:xfrm>
            <a:off x="5648436" y="1057040"/>
            <a:ext cx="1848472" cy="369332"/>
          </a:xfrm>
          <a:prstGeom prst="rect">
            <a:avLst/>
          </a:prstGeom>
          <a:noFill/>
        </p:spPr>
        <p:txBody>
          <a:bodyPr wrap="square" rtlCol="0">
            <a:spAutoFit/>
          </a:bodyPr>
          <a:lstStyle/>
          <a:p>
            <a:r>
              <a:rPr lang="en-US" b="1">
                <a:latin typeface="EYInterstate" panose="02000503020000020004" pitchFamily="2" charset="0"/>
              </a:rPr>
              <a:t>2. Same day</a:t>
            </a:r>
            <a:endParaRPr lang="en-US" b="1"/>
          </a:p>
        </p:txBody>
      </p:sp>
      <p:sp>
        <p:nvSpPr>
          <p:cNvPr id="16" name="TextBox 15">
            <a:extLst>
              <a:ext uri="{FF2B5EF4-FFF2-40B4-BE49-F238E27FC236}">
                <a16:creationId xmlns:a16="http://schemas.microsoft.com/office/drawing/2014/main" id="{11880F02-5366-4083-9EEE-BBECCC089AB9}"/>
              </a:ext>
            </a:extLst>
          </p:cNvPr>
          <p:cNvSpPr txBox="1"/>
          <p:nvPr/>
        </p:nvSpPr>
        <p:spPr>
          <a:xfrm>
            <a:off x="5648436" y="2582581"/>
            <a:ext cx="3543361" cy="369332"/>
          </a:xfrm>
          <a:prstGeom prst="rect">
            <a:avLst/>
          </a:prstGeom>
          <a:noFill/>
        </p:spPr>
        <p:txBody>
          <a:bodyPr wrap="square" rtlCol="0">
            <a:spAutoFit/>
          </a:bodyPr>
          <a:lstStyle/>
          <a:p>
            <a:r>
              <a:rPr lang="en-US" b="1">
                <a:latin typeface="EYInterstate" panose="02000503020000020004" pitchFamily="2" charset="0"/>
              </a:rPr>
              <a:t>3. Within 2-3 business days</a:t>
            </a:r>
            <a:endParaRPr lang="en-US" b="1"/>
          </a:p>
        </p:txBody>
      </p:sp>
      <p:sp>
        <p:nvSpPr>
          <p:cNvPr id="19" name="TextBox 18">
            <a:extLst>
              <a:ext uri="{FF2B5EF4-FFF2-40B4-BE49-F238E27FC236}">
                <a16:creationId xmlns:a16="http://schemas.microsoft.com/office/drawing/2014/main" id="{116FBF94-AC24-4DDE-840D-4D4DB8989BD4}"/>
              </a:ext>
            </a:extLst>
          </p:cNvPr>
          <p:cNvSpPr txBox="1"/>
          <p:nvPr/>
        </p:nvSpPr>
        <p:spPr>
          <a:xfrm>
            <a:off x="9858015" y="3302384"/>
            <a:ext cx="2238049" cy="204671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600" b="1" i="0" u="none" strike="noStrike" kern="1200" cap="none" spc="0" normalizeH="0" baseline="0" noProof="0">
                <a:ln>
                  <a:noFill/>
                </a:ln>
                <a:solidFill>
                  <a:srgbClr val="000000"/>
                </a:solidFill>
                <a:effectLst/>
                <a:uLnTx/>
                <a:uFillTx/>
                <a:latin typeface="EYInterstate"/>
                <a:ea typeface="+mn-ea"/>
                <a:cs typeface="+mn-cs"/>
              </a:rPr>
              <a:t>Important Note:</a:t>
            </a:r>
          </a:p>
          <a:p>
            <a:pPr lvl="0">
              <a:spcAft>
                <a:spcPts val="600"/>
              </a:spcAft>
              <a:buClr>
                <a:srgbClr val="4472C4"/>
              </a:buClr>
              <a:buSzPct val="70000"/>
              <a:defRPr/>
            </a:pPr>
            <a:r>
              <a:rPr lang="en-US" sz="1400">
                <a:latin typeface="EYInterstate" panose="02000503020000020004" pitchFamily="2" charset="0"/>
              </a:rPr>
              <a:t>If there are any errors with the onboarding file, the ticket will be reopened and you will receive an email and will need to log back into your Helpdesk Portal account to respond and update the file.</a:t>
            </a:r>
            <a:endParaRPr kumimoji="0" lang="en-US" sz="1400" i="0" u="none" strike="noStrike" kern="1200" cap="none" spc="0" normalizeH="0" baseline="0" noProof="0">
              <a:ln>
                <a:noFill/>
              </a:ln>
              <a:solidFill>
                <a:srgbClr val="000000"/>
              </a:solidFill>
              <a:effectLst/>
              <a:uLnTx/>
              <a:uFillTx/>
              <a:latin typeface="EYInterstate"/>
              <a:ea typeface="+mn-ea"/>
              <a:cs typeface="+mn-cs"/>
            </a:endParaRPr>
          </a:p>
        </p:txBody>
      </p:sp>
      <p:grpSp>
        <p:nvGrpSpPr>
          <p:cNvPr id="2" name="Group 1">
            <a:extLst>
              <a:ext uri="{FF2B5EF4-FFF2-40B4-BE49-F238E27FC236}">
                <a16:creationId xmlns:a16="http://schemas.microsoft.com/office/drawing/2014/main" id="{F5266D45-A80A-4A0A-809B-DC2F07FA5700}"/>
              </a:ext>
            </a:extLst>
          </p:cNvPr>
          <p:cNvGrpSpPr/>
          <p:nvPr/>
        </p:nvGrpSpPr>
        <p:grpSpPr>
          <a:xfrm>
            <a:off x="393723" y="3429000"/>
            <a:ext cx="5001097" cy="2219075"/>
            <a:chOff x="393723" y="3429000"/>
            <a:chExt cx="5001097" cy="2219075"/>
          </a:xfrm>
        </p:grpSpPr>
        <p:grpSp>
          <p:nvGrpSpPr>
            <p:cNvPr id="17" name="Group 16">
              <a:extLst>
                <a:ext uri="{FF2B5EF4-FFF2-40B4-BE49-F238E27FC236}">
                  <a16:creationId xmlns:a16="http://schemas.microsoft.com/office/drawing/2014/main" id="{9415BD70-98DA-41BB-B1A9-1A03D0102CC5}"/>
                </a:ext>
              </a:extLst>
            </p:cNvPr>
            <p:cNvGrpSpPr/>
            <p:nvPr/>
          </p:nvGrpSpPr>
          <p:grpSpPr>
            <a:xfrm>
              <a:off x="393723" y="3429000"/>
              <a:ext cx="5001097" cy="2219075"/>
              <a:chOff x="393723" y="3429000"/>
              <a:chExt cx="5001097" cy="2219075"/>
            </a:xfrm>
          </p:grpSpPr>
          <p:pic>
            <p:nvPicPr>
              <p:cNvPr id="13" name="Picture 12" descr="C:\Users\HU778EK\AppData\Local\Microsoft\Windows\INetCache\Content.MSO\E091F60B.tmp">
                <a:extLst>
                  <a:ext uri="{FF2B5EF4-FFF2-40B4-BE49-F238E27FC236}">
                    <a16:creationId xmlns:a16="http://schemas.microsoft.com/office/drawing/2014/main" id="{2FA7B60E-E54A-4A72-840E-A25414737732}"/>
                  </a:ext>
                </a:extLst>
              </p:cNvPr>
              <p:cNvPicPr/>
              <p:nvPr/>
            </p:nvPicPr>
            <p:blipFill rotWithShape="1">
              <a:blip r:embed="rId7">
                <a:extLst>
                  <a:ext uri="{28A0092B-C50C-407E-A947-70E740481C1C}">
                    <a14:useLocalDpi xmlns:a14="http://schemas.microsoft.com/office/drawing/2010/main" val="0"/>
                  </a:ext>
                </a:extLst>
              </a:blip>
              <a:srcRect t="2040" r="26431" b="21214"/>
              <a:stretch/>
            </p:blipFill>
            <p:spPr bwMode="auto">
              <a:xfrm>
                <a:off x="393723" y="3429000"/>
                <a:ext cx="5001097" cy="2219075"/>
              </a:xfrm>
              <a:prstGeom prst="rect">
                <a:avLst/>
              </a:prstGeom>
              <a:noFill/>
              <a:ln w="28575">
                <a:solidFill>
                  <a:schemeClr val="tx1"/>
                </a:solidFill>
              </a:ln>
              <a:extLst>
                <a:ext uri="{53640926-AAD7-44D8-BBD7-CCE9431645EC}">
                  <a14:shadowObscured xmlns:a14="http://schemas.microsoft.com/office/drawing/2010/main"/>
                </a:ext>
              </a:extLst>
            </p:spPr>
          </p:pic>
          <p:sp>
            <p:nvSpPr>
              <p:cNvPr id="15" name="TextBox 14">
                <a:extLst>
                  <a:ext uri="{FF2B5EF4-FFF2-40B4-BE49-F238E27FC236}">
                    <a16:creationId xmlns:a16="http://schemas.microsoft.com/office/drawing/2014/main" id="{53C67D9E-51A2-487D-8301-9A6D3B54BE50}"/>
                  </a:ext>
                </a:extLst>
              </p:cNvPr>
              <p:cNvSpPr txBox="1"/>
              <p:nvPr/>
            </p:nvSpPr>
            <p:spPr>
              <a:xfrm>
                <a:off x="3133789" y="4202631"/>
                <a:ext cx="1655618" cy="200055"/>
              </a:xfrm>
              <a:prstGeom prst="rect">
                <a:avLst/>
              </a:prstGeom>
              <a:solidFill>
                <a:schemeClr val="bg1"/>
              </a:solidFill>
              <a:ln>
                <a:noFill/>
              </a:ln>
            </p:spPr>
            <p:txBody>
              <a:bodyPr wrap="square" rtlCol="0">
                <a:spAutoFit/>
              </a:bodyPr>
              <a:lstStyle/>
              <a:p>
                <a:r>
                  <a:rPr lang="en-US" sz="700" b="1">
                    <a:solidFill>
                      <a:schemeClr val="accent5">
                        <a:lumMod val="75000"/>
                      </a:schemeClr>
                    </a:solidFill>
                  </a:rPr>
                  <a:t>HCP User Onboarding  - Test.docx</a:t>
                </a:r>
              </a:p>
            </p:txBody>
          </p:sp>
        </p:grpSp>
        <p:sp>
          <p:nvSpPr>
            <p:cNvPr id="22" name="TextBox 21">
              <a:extLst>
                <a:ext uri="{FF2B5EF4-FFF2-40B4-BE49-F238E27FC236}">
                  <a16:creationId xmlns:a16="http://schemas.microsoft.com/office/drawing/2014/main" id="{FFC55842-1B29-41F2-B0B3-8F892A1FE746}"/>
                </a:ext>
              </a:extLst>
            </p:cNvPr>
            <p:cNvSpPr txBox="1"/>
            <p:nvPr/>
          </p:nvSpPr>
          <p:spPr>
            <a:xfrm>
              <a:off x="495603" y="3682809"/>
              <a:ext cx="1369688" cy="238527"/>
            </a:xfrm>
            <a:prstGeom prst="rect">
              <a:avLst/>
            </a:prstGeom>
            <a:solidFill>
              <a:srgbClr val="F5F5F5"/>
            </a:solidFill>
            <a:ln>
              <a:noFill/>
            </a:ln>
          </p:spPr>
          <p:txBody>
            <a:bodyPr wrap="square" rtlCol="0">
              <a:spAutoFit/>
            </a:bodyPr>
            <a:lstStyle/>
            <a:p>
              <a:r>
                <a:rPr lang="en-US" sz="950" b="1">
                  <a:solidFill>
                    <a:schemeClr val="bg2">
                      <a:lumMod val="50000"/>
                    </a:schemeClr>
                  </a:solidFill>
                </a:rPr>
                <a:t>HCP User Onboarding </a:t>
              </a:r>
            </a:p>
          </p:txBody>
        </p:sp>
      </p:grpSp>
      <p:grpSp>
        <p:nvGrpSpPr>
          <p:cNvPr id="24" name="Group 23">
            <a:extLst>
              <a:ext uri="{FF2B5EF4-FFF2-40B4-BE49-F238E27FC236}">
                <a16:creationId xmlns:a16="http://schemas.microsoft.com/office/drawing/2014/main" id="{CCDF4591-82A8-4E7A-836E-91B0D05BB951}"/>
              </a:ext>
            </a:extLst>
          </p:cNvPr>
          <p:cNvGrpSpPr/>
          <p:nvPr/>
        </p:nvGrpSpPr>
        <p:grpSpPr>
          <a:xfrm rot="10800000">
            <a:off x="11513880" y="3178126"/>
            <a:ext cx="429650" cy="385419"/>
            <a:chOff x="11315933" y="1873067"/>
            <a:chExt cx="429650" cy="385419"/>
          </a:xfrm>
        </p:grpSpPr>
        <p:pic>
          <p:nvPicPr>
            <p:cNvPr id="25" name="Graphic 24" descr="Exclamation mark">
              <a:extLst>
                <a:ext uri="{FF2B5EF4-FFF2-40B4-BE49-F238E27FC236}">
                  <a16:creationId xmlns:a16="http://schemas.microsoft.com/office/drawing/2014/main" id="{3FB71635-16CF-4E0B-8705-9E1A03985CE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342567" y="1917511"/>
              <a:ext cx="367053" cy="307777"/>
            </a:xfrm>
            <a:prstGeom prst="rect">
              <a:avLst/>
            </a:prstGeom>
          </p:spPr>
        </p:pic>
        <p:sp>
          <p:nvSpPr>
            <p:cNvPr id="26" name="Rectangle 25">
              <a:extLst>
                <a:ext uri="{FF2B5EF4-FFF2-40B4-BE49-F238E27FC236}">
                  <a16:creationId xmlns:a16="http://schemas.microsoft.com/office/drawing/2014/main" id="{F269B642-26BA-4F73-ADFD-5DBBFEABD403}"/>
                </a:ext>
              </a:extLst>
            </p:cNvPr>
            <p:cNvSpPr/>
            <p:nvPr/>
          </p:nvSpPr>
          <p:spPr>
            <a:xfrm>
              <a:off x="11315933" y="1873067"/>
              <a:ext cx="429650" cy="38541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6104347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F3BD51B-0D39-487F-8C5B-7CDAB112BBAB}"/>
              </a:ext>
            </a:extLst>
          </p:cNvPr>
          <p:cNvSpPr/>
          <p:nvPr/>
        </p:nvSpPr>
        <p:spPr>
          <a:xfrm>
            <a:off x="0" y="-1"/>
            <a:ext cx="12192000" cy="6115050"/>
          </a:xfrm>
          <a:prstGeom prst="rect">
            <a:avLst/>
          </a:prstGeom>
          <a:solidFill>
            <a:schemeClr val="bg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EYInterstate" panose="02000503020000020004" pitchFamily="2" charset="0"/>
              <a:ea typeface="+mn-ea"/>
              <a:cs typeface="+mn-cs"/>
            </a:endParaRPr>
          </a:p>
        </p:txBody>
      </p:sp>
      <p:graphicFrame>
        <p:nvGraphicFramePr>
          <p:cNvPr id="4" name="Object 3" hidden="1">
            <a:extLst>
              <a:ext uri="{FF2B5EF4-FFF2-40B4-BE49-F238E27FC236}">
                <a16:creationId xmlns:a16="http://schemas.microsoft.com/office/drawing/2014/main" id="{0954613E-E3F7-D44B-B1D7-C81E923F5BB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0954613E-E3F7-D44B-B1D7-C81E923F5BB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DD44C1A4-CC9D-4A4B-B32B-18DEC47A3A50}"/>
              </a:ext>
            </a:extLst>
          </p:cNvPr>
          <p:cNvSpPr txBox="1"/>
          <p:nvPr/>
        </p:nvSpPr>
        <p:spPr>
          <a:xfrm>
            <a:off x="864524" y="2734358"/>
            <a:ext cx="10238906" cy="646331"/>
          </a:xfrm>
          <a:prstGeom prst="rect">
            <a:avLst/>
          </a:prstGeom>
          <a:noFill/>
        </p:spPr>
        <p:txBody>
          <a:bodyPr wrap="square" rtlCol="0">
            <a:spAutoFit/>
          </a:bodyPr>
          <a:lstStyle/>
          <a:p>
            <a:pPr lvl="0">
              <a:defRPr/>
            </a:pPr>
            <a:r>
              <a:rPr lang="en-US" sz="3600" b="1">
                <a:solidFill>
                  <a:prstClr val="white"/>
                </a:solidFill>
                <a:latin typeface="EYInterstate" panose="02000503020000020004" pitchFamily="2" charset="0"/>
              </a:rPr>
              <a:t>Recipient Bulk Upload Process</a:t>
            </a:r>
          </a:p>
        </p:txBody>
      </p:sp>
    </p:spTree>
    <p:extLst>
      <p:ext uri="{BB962C8B-B14F-4D97-AF65-F5344CB8AC3E}">
        <p14:creationId xmlns:p14="http://schemas.microsoft.com/office/powerpoint/2010/main" val="22376772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4"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kumimoji="0" lang="en-US" sz="2000" b="1" i="0" u="none" strike="noStrike" kern="1200" cap="none" spc="0" normalizeH="0" baseline="0" noProof="0">
                <a:ln w="0">
                  <a:noFill/>
                </a:ln>
                <a:solidFill>
                  <a:srgbClr val="000000"/>
                </a:solidFill>
                <a:effectLst/>
                <a:uLnTx/>
                <a:uFillTx/>
                <a:latin typeface="EYInterstate"/>
                <a:ea typeface="+mj-ea"/>
                <a:cs typeface="Arial"/>
              </a:rPr>
              <a:t>Step </a:t>
            </a:r>
            <a:r>
              <a:rPr lang="en-US" sz="2000" b="1">
                <a:ln w="0">
                  <a:noFill/>
                </a:ln>
                <a:solidFill>
                  <a:srgbClr val="000000"/>
                </a:solidFill>
                <a:latin typeface="EYInterstate"/>
                <a:cs typeface="Arial"/>
              </a:rPr>
              <a:t>10.2</a:t>
            </a:r>
            <a:r>
              <a:rPr kumimoji="0" lang="en-US" sz="2000" b="1" i="0" u="none" strike="noStrike" kern="1200" cap="none" spc="0" normalizeH="0" baseline="0" noProof="0">
                <a:ln w="0">
                  <a:noFill/>
                </a:ln>
                <a:solidFill>
                  <a:srgbClr val="000000"/>
                </a:solidFill>
                <a:effectLst/>
                <a:uLnTx/>
                <a:uFillTx/>
                <a:latin typeface="EYInterstate"/>
                <a:ea typeface="+mj-ea"/>
                <a:cs typeface="Arial"/>
              </a:rPr>
              <a:t> of </a:t>
            </a:r>
            <a:r>
              <a:rPr lang="en-US" sz="2000" b="1">
                <a:ln w="0">
                  <a:noFill/>
                </a:ln>
                <a:solidFill>
                  <a:srgbClr val="000000"/>
                </a:solidFill>
                <a:latin typeface="EYInterstate"/>
                <a:cs typeface="Arial"/>
              </a:rPr>
              <a:t>12</a:t>
            </a:r>
            <a:r>
              <a:rPr kumimoji="0" lang="en-US" sz="2000" b="1" i="0" u="none" strike="noStrike" kern="1200" cap="none" spc="0" normalizeH="0" baseline="0" noProof="0">
                <a:ln w="0">
                  <a:noFill/>
                </a:ln>
                <a:solidFill>
                  <a:srgbClr val="000000"/>
                </a:solidFill>
                <a:effectLst/>
                <a:uLnTx/>
                <a:uFillTx/>
                <a:latin typeface="EYInterstate"/>
                <a:ea typeface="+mj-ea"/>
                <a:cs typeface="Arial"/>
              </a:rPr>
              <a:t>:</a:t>
            </a:r>
            <a:endParaRPr lang="en-US" sz="2000" b="1" i="0" u="none" strike="noStrike" kern="1200" cap="none" spc="0" normalizeH="0" baseline="0" noProof="0">
              <a:ln w="0">
                <a:noFill/>
              </a:ln>
              <a:solidFill>
                <a:srgbClr val="000000"/>
              </a:solidFill>
              <a:effectLst/>
              <a:uLnTx/>
              <a:uFillTx/>
              <a:latin typeface="EYInterstate"/>
              <a:cs typeface="Arial"/>
            </a:endParaRPr>
          </a:p>
        </p:txBody>
      </p:sp>
      <p:sp>
        <p:nvSpPr>
          <p:cNvPr id="11" name="Freeform 43">
            <a:extLst>
              <a:ext uri="{FF2B5EF4-FFF2-40B4-BE49-F238E27FC236}">
                <a16:creationId xmlns:a16="http://schemas.microsoft.com/office/drawing/2014/main" id="{F05B4A8E-78C0-42FA-AC31-D4D29053386D}"/>
              </a:ext>
            </a:extLst>
          </p:cNvPr>
          <p:cNvSpPr>
            <a:spLocks/>
          </p:cNvSpPr>
          <p:nvPr/>
        </p:nvSpPr>
        <p:spPr>
          <a:xfrm rot="5400000">
            <a:off x="6928233" y="3671288"/>
            <a:ext cx="5483425" cy="45719"/>
          </a:xfrm>
          <a:custGeom>
            <a:avLst/>
            <a:gdLst>
              <a:gd name="connsiteX0" fmla="*/ 0 w 11052722"/>
              <a:gd name="connsiteY0" fmla="*/ 0 h 120650"/>
              <a:gd name="connsiteX1" fmla="*/ 10692722 w 11052722"/>
              <a:gd name="connsiteY1" fmla="*/ 0 h 120650"/>
              <a:gd name="connsiteX2" fmla="*/ 10747924 w 11052722"/>
              <a:gd name="connsiteY2" fmla="*/ 0 h 120650"/>
              <a:gd name="connsiteX3" fmla="*/ 10992397 w 11052722"/>
              <a:gd name="connsiteY3" fmla="*/ 0 h 120650"/>
              <a:gd name="connsiteX4" fmla="*/ 11052722 w 11052722"/>
              <a:gd name="connsiteY4" fmla="*/ 60325 h 120650"/>
              <a:gd name="connsiteX5" fmla="*/ 10992397 w 11052722"/>
              <a:gd name="connsiteY5" fmla="*/ 120650 h 120650"/>
              <a:gd name="connsiteX6" fmla="*/ 10747924 w 11052722"/>
              <a:gd name="connsiteY6" fmla="*/ 120650 h 120650"/>
              <a:gd name="connsiteX7" fmla="*/ 10692722 w 11052722"/>
              <a:gd name="connsiteY7" fmla="*/ 120650 h 120650"/>
              <a:gd name="connsiteX8" fmla="*/ 0 w 11052722"/>
              <a:gd name="connsiteY8" fmla="*/ 120650 h 120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52722" h="120650">
                <a:moveTo>
                  <a:pt x="0" y="0"/>
                </a:moveTo>
                <a:lnTo>
                  <a:pt x="10692722" y="0"/>
                </a:lnTo>
                <a:lnTo>
                  <a:pt x="10747924" y="0"/>
                </a:lnTo>
                <a:lnTo>
                  <a:pt x="10992397" y="0"/>
                </a:lnTo>
                <a:lnTo>
                  <a:pt x="11052722" y="60325"/>
                </a:lnTo>
                <a:lnTo>
                  <a:pt x="10992397" y="120650"/>
                </a:lnTo>
                <a:lnTo>
                  <a:pt x="10747924" y="120650"/>
                </a:lnTo>
                <a:lnTo>
                  <a:pt x="10692722" y="120650"/>
                </a:lnTo>
                <a:lnTo>
                  <a:pt x="0" y="120650"/>
                </a:lnTo>
                <a:close/>
              </a:path>
            </a:pathLst>
          </a:custGeom>
          <a:solidFill>
            <a:schemeClr val="bg1">
              <a:lumMod val="8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E6B17F7D-B21E-4888-915F-C4D114275924}"/>
              </a:ext>
            </a:extLst>
          </p:cNvPr>
          <p:cNvSpPr/>
          <p:nvPr/>
        </p:nvSpPr>
        <p:spPr>
          <a:xfrm>
            <a:off x="9722650" y="982220"/>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Audience</a:t>
            </a:r>
          </a:p>
        </p:txBody>
      </p:sp>
      <p:sp>
        <p:nvSpPr>
          <p:cNvPr id="14" name="Rectangle 13">
            <a:extLst>
              <a:ext uri="{FF2B5EF4-FFF2-40B4-BE49-F238E27FC236}">
                <a16:creationId xmlns:a16="http://schemas.microsoft.com/office/drawing/2014/main" id="{C8790A2E-14EC-431A-8D3D-A0C0112FFD41}"/>
              </a:ext>
            </a:extLst>
          </p:cNvPr>
          <p:cNvSpPr/>
          <p:nvPr/>
        </p:nvSpPr>
        <p:spPr>
          <a:xfrm>
            <a:off x="9858015" y="1403117"/>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Providers</a:t>
            </a:r>
          </a:p>
        </p:txBody>
      </p:sp>
      <p:sp>
        <p:nvSpPr>
          <p:cNvPr id="18" name="TextBox 17">
            <a:extLst>
              <a:ext uri="{FF2B5EF4-FFF2-40B4-BE49-F238E27FC236}">
                <a16:creationId xmlns:a16="http://schemas.microsoft.com/office/drawing/2014/main" id="{5921E684-25A7-46D3-9CCC-3FDDFD15B4D9}"/>
              </a:ext>
            </a:extLst>
          </p:cNvPr>
          <p:cNvSpPr txBox="1"/>
          <p:nvPr/>
        </p:nvSpPr>
        <p:spPr>
          <a:xfrm>
            <a:off x="9868365" y="2399497"/>
            <a:ext cx="1946503" cy="2877711"/>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panose="02000503020000020004" pitchFamily="2" charset="0"/>
              </a:rPr>
              <a:t>Tips</a:t>
            </a:r>
          </a:p>
          <a:p>
            <a:r>
              <a:rPr lang="en-US" sz="1400">
                <a:latin typeface="EYInterstate" panose="02000503020000020004" pitchFamily="2" charset="0"/>
              </a:rPr>
              <a:t>Check for file errors.</a:t>
            </a:r>
          </a:p>
          <a:p>
            <a:endParaRPr lang="en-US" sz="1400">
              <a:latin typeface="EYInterstate" panose="02000503020000020004" pitchFamily="2" charset="0"/>
            </a:endParaRPr>
          </a:p>
          <a:p>
            <a:r>
              <a:rPr lang="en-US" sz="1400">
                <a:latin typeface="EYInterstate" panose="02000503020000020004" pitchFamily="2" charset="0"/>
              </a:rPr>
              <a:t>Instructions on how to correct and re-upload the Recipient Bulk Upload template: </a:t>
            </a:r>
            <a:r>
              <a:rPr lang="en-US" sz="1400" u="sng">
                <a:latin typeface="EYInterstate" panose="02000503020000020004" pitchFamily="2" charset="0"/>
                <a:hlinkClick r:id="rId7"/>
              </a:rPr>
              <a:t>Recipient Bulk Upload User Guide </a:t>
            </a:r>
            <a:r>
              <a:rPr lang="en-US" sz="1400">
                <a:latin typeface="EYInterstate" panose="02000503020000020004" pitchFamily="2" charset="0"/>
              </a:rPr>
              <a:t>(Pages 18-23) located on the </a:t>
            </a:r>
            <a:r>
              <a:rPr lang="en-US" sz="1400" u="sng">
                <a:latin typeface="EYInterstate" panose="02000503020000020004" pitchFamily="2" charset="0"/>
                <a:hlinkClick r:id="rId8"/>
              </a:rPr>
              <a:t>NC Immunization Branch – COVID-19 Training Site</a:t>
            </a:r>
            <a:r>
              <a:rPr lang="en-US" sz="1400">
                <a:latin typeface="EYInterstate" panose="02000503020000020004" pitchFamily="2" charset="0"/>
              </a:rPr>
              <a:t>.</a:t>
            </a:r>
          </a:p>
        </p:txBody>
      </p:sp>
      <p:sp>
        <p:nvSpPr>
          <p:cNvPr id="19" name="object 4">
            <a:extLst>
              <a:ext uri="{FF2B5EF4-FFF2-40B4-BE49-F238E27FC236}">
                <a16:creationId xmlns:a16="http://schemas.microsoft.com/office/drawing/2014/main" id="{B9C2EB75-D002-4BF5-A791-F12A2C032CEF}"/>
              </a:ext>
            </a:extLst>
          </p:cNvPr>
          <p:cNvSpPr txBox="1"/>
          <p:nvPr/>
        </p:nvSpPr>
        <p:spPr>
          <a:xfrm>
            <a:off x="5060202" y="1537405"/>
            <a:ext cx="4411324" cy="5014193"/>
          </a:xfrm>
          <a:prstGeom prst="rect">
            <a:avLst/>
          </a:prstGeom>
        </p:spPr>
        <p:txBody>
          <a:bodyPr vert="horz" wrap="square" lIns="0" tIns="12700" rIns="0" bIns="0" rtlCol="0" anchor="t">
            <a:spAutoFit/>
          </a:bodyPr>
          <a:lstStyle/>
          <a:p>
            <a:pPr>
              <a:spcAft>
                <a:spcPts val="600"/>
              </a:spcAft>
              <a:buClr>
                <a:srgbClr val="4472C4"/>
              </a:buClr>
              <a:buSzPct val="70000"/>
              <a:defRPr/>
            </a:pPr>
            <a:r>
              <a:rPr lang="en-US" sz="2000">
                <a:solidFill>
                  <a:srgbClr val="000000"/>
                </a:solidFill>
                <a:latin typeface="EYInterstate" panose="02000503020000020004" pitchFamily="2" charset="0"/>
              </a:rPr>
              <a:t>1. Fill in all of the mandatory fields (with the </a:t>
            </a:r>
            <a:r>
              <a:rPr lang="en-US" sz="2000">
                <a:solidFill>
                  <a:srgbClr val="FF0000"/>
                </a:solidFill>
                <a:latin typeface="EYInterstate" panose="02000503020000020004" pitchFamily="2" charset="0"/>
              </a:rPr>
              <a:t>*</a:t>
            </a:r>
            <a:r>
              <a:rPr lang="en-US" sz="2000">
                <a:solidFill>
                  <a:srgbClr val="000000"/>
                </a:solidFill>
                <a:latin typeface="EYInterstate" panose="02000503020000020004" pitchFamily="2" charset="0"/>
              </a:rPr>
              <a:t>).</a:t>
            </a:r>
          </a:p>
          <a:p>
            <a:pPr>
              <a:spcAft>
                <a:spcPts val="600"/>
              </a:spcAft>
              <a:buClr>
                <a:srgbClr val="4472C4"/>
              </a:buClr>
              <a:buSzPct val="70000"/>
              <a:defRPr/>
            </a:pPr>
            <a:endParaRPr lang="en-US" sz="2000">
              <a:solidFill>
                <a:srgbClr val="000000"/>
              </a:solidFill>
              <a:latin typeface="EYInterstate" panose="02000503020000020004" pitchFamily="2" charset="0"/>
            </a:endParaRPr>
          </a:p>
          <a:p>
            <a:pPr>
              <a:spcAft>
                <a:spcPts val="600"/>
              </a:spcAft>
              <a:buClr>
                <a:srgbClr val="4472C4"/>
              </a:buClr>
              <a:buSzPct val="70000"/>
              <a:defRPr/>
            </a:pPr>
            <a:r>
              <a:rPr lang="en-US" sz="2000">
                <a:solidFill>
                  <a:srgbClr val="000000"/>
                </a:solidFill>
                <a:latin typeface="EYInterstate" panose="02000503020000020004" pitchFamily="2" charset="0"/>
              </a:rPr>
              <a:t>2. Add the appropriate attachment, </a:t>
            </a:r>
            <a:r>
              <a:rPr lang="en-US" sz="2000" b="1">
                <a:solidFill>
                  <a:srgbClr val="000000"/>
                </a:solidFill>
                <a:latin typeface="EYInterstate" panose="02000503020000020004" pitchFamily="2" charset="0"/>
              </a:rPr>
              <a:t>Recipient Bulk Upload Spreadsheet</a:t>
            </a:r>
            <a:r>
              <a:rPr lang="en-US" sz="2000">
                <a:solidFill>
                  <a:srgbClr val="000000"/>
                </a:solidFill>
                <a:latin typeface="EYInterstate" panose="02000503020000020004" pitchFamily="2" charset="0"/>
              </a:rPr>
              <a:t>, using the </a:t>
            </a:r>
            <a:r>
              <a:rPr lang="en-US" sz="2000" b="1">
                <a:solidFill>
                  <a:srgbClr val="000000"/>
                </a:solidFill>
                <a:latin typeface="EYInterstate" panose="02000503020000020004" pitchFamily="2" charset="0"/>
              </a:rPr>
              <a:t>Add attachments</a:t>
            </a:r>
            <a:r>
              <a:rPr lang="en-US" sz="2000">
                <a:solidFill>
                  <a:srgbClr val="000000"/>
                </a:solidFill>
                <a:latin typeface="EYInterstate" panose="02000503020000020004" pitchFamily="2" charset="0"/>
              </a:rPr>
              <a:t> link at the bottom-right of the form. A template for the document can be found </a:t>
            </a:r>
            <a:r>
              <a:rPr lang="en-US" sz="2000">
                <a:solidFill>
                  <a:srgbClr val="000000"/>
                </a:solidFill>
                <a:latin typeface="EYInterstate" panose="02000503020000020004" pitchFamily="2" charset="0"/>
                <a:hlinkClick r:id="rId9"/>
              </a:rPr>
              <a:t>here</a:t>
            </a:r>
            <a:r>
              <a:rPr lang="en-US" sz="2000">
                <a:solidFill>
                  <a:srgbClr val="000000"/>
                </a:solidFill>
                <a:latin typeface="EYInterstate" panose="02000503020000020004" pitchFamily="2" charset="0"/>
              </a:rPr>
              <a:t>.</a:t>
            </a:r>
          </a:p>
          <a:p>
            <a:pPr>
              <a:spcAft>
                <a:spcPts val="600"/>
              </a:spcAft>
              <a:buClr>
                <a:srgbClr val="4472C4"/>
              </a:buClr>
              <a:buSzPct val="70000"/>
              <a:defRPr/>
            </a:pPr>
            <a:endParaRPr lang="en-US" sz="2000">
              <a:solidFill>
                <a:srgbClr val="000000"/>
              </a:solidFill>
              <a:latin typeface="EYInterstate" panose="02000503020000020004" pitchFamily="2" charset="0"/>
            </a:endParaRPr>
          </a:p>
          <a:p>
            <a:pPr>
              <a:spcAft>
                <a:spcPts val="600"/>
              </a:spcAft>
              <a:buClr>
                <a:srgbClr val="4472C4"/>
              </a:buClr>
              <a:buSzPct val="70000"/>
              <a:defRPr/>
            </a:pPr>
            <a:r>
              <a:rPr lang="en-US" sz="2000">
                <a:solidFill>
                  <a:srgbClr val="000000"/>
                </a:solidFill>
                <a:latin typeface="EYInterstate" panose="02000503020000020004" pitchFamily="2" charset="0"/>
              </a:rPr>
              <a:t>Note: Please ensure to use the template provided and to fill out all of the fields to avoid any delays in processing the file!</a:t>
            </a:r>
          </a:p>
          <a:p>
            <a:pPr>
              <a:spcAft>
                <a:spcPts val="600"/>
              </a:spcAft>
              <a:buClr>
                <a:srgbClr val="4472C4"/>
              </a:buClr>
              <a:buSzPct val="70000"/>
              <a:defRPr/>
            </a:pPr>
            <a:endParaRPr lang="en-US" sz="2000">
              <a:latin typeface="EYInterstate" panose="02000503020000020004" pitchFamily="2" charset="0"/>
            </a:endParaRPr>
          </a:p>
        </p:txBody>
      </p:sp>
      <p:sp>
        <p:nvSpPr>
          <p:cNvPr id="2" name="TextBox 1">
            <a:extLst>
              <a:ext uri="{FF2B5EF4-FFF2-40B4-BE49-F238E27FC236}">
                <a16:creationId xmlns:a16="http://schemas.microsoft.com/office/drawing/2014/main" id="{3E51037A-0519-40F2-83AA-FA06E1FE8410}"/>
              </a:ext>
            </a:extLst>
          </p:cNvPr>
          <p:cNvSpPr txBox="1"/>
          <p:nvPr/>
        </p:nvSpPr>
        <p:spPr>
          <a:xfrm>
            <a:off x="221656" y="891074"/>
            <a:ext cx="8884436" cy="646331"/>
          </a:xfrm>
          <a:prstGeom prst="rect">
            <a:avLst/>
          </a:prstGeom>
          <a:noFill/>
        </p:spPr>
        <p:txBody>
          <a:bodyPr wrap="square" rtlCol="0">
            <a:spAutoFit/>
          </a:bodyPr>
          <a:lstStyle/>
          <a:p>
            <a:r>
              <a:rPr lang="en-US">
                <a:solidFill>
                  <a:srgbClr val="000000"/>
                </a:solidFill>
                <a:latin typeface="EYInterstate"/>
              </a:rPr>
              <a:t>If you Complete the Recipient Bulk Upload intake form.</a:t>
            </a:r>
          </a:p>
          <a:p>
            <a:endParaRPr lang="en-US"/>
          </a:p>
        </p:txBody>
      </p:sp>
      <p:grpSp>
        <p:nvGrpSpPr>
          <p:cNvPr id="4" name="Group 3">
            <a:extLst>
              <a:ext uri="{FF2B5EF4-FFF2-40B4-BE49-F238E27FC236}">
                <a16:creationId xmlns:a16="http://schemas.microsoft.com/office/drawing/2014/main" id="{104BCE9F-BA9F-4B35-8BAD-2AB9AFBCE27F}"/>
              </a:ext>
            </a:extLst>
          </p:cNvPr>
          <p:cNvGrpSpPr/>
          <p:nvPr/>
        </p:nvGrpSpPr>
        <p:grpSpPr>
          <a:xfrm>
            <a:off x="377132" y="1403117"/>
            <a:ext cx="4347259" cy="4954141"/>
            <a:chOff x="377132" y="1403117"/>
            <a:chExt cx="4347259" cy="4954141"/>
          </a:xfrm>
        </p:grpSpPr>
        <p:grpSp>
          <p:nvGrpSpPr>
            <p:cNvPr id="3" name="Group 2">
              <a:extLst>
                <a:ext uri="{FF2B5EF4-FFF2-40B4-BE49-F238E27FC236}">
                  <a16:creationId xmlns:a16="http://schemas.microsoft.com/office/drawing/2014/main" id="{21109310-B37D-432B-9740-721EB432E4B0}"/>
                </a:ext>
              </a:extLst>
            </p:cNvPr>
            <p:cNvGrpSpPr/>
            <p:nvPr/>
          </p:nvGrpSpPr>
          <p:grpSpPr>
            <a:xfrm>
              <a:off x="377132" y="1403117"/>
              <a:ext cx="4347259" cy="3959294"/>
              <a:chOff x="377132" y="1403117"/>
              <a:chExt cx="4347259" cy="3959294"/>
            </a:xfrm>
          </p:grpSpPr>
          <p:pic>
            <p:nvPicPr>
              <p:cNvPr id="15" name="Picture 14" descr="C:\Users\HU778EK\AppData\Local\Microsoft\Windows\INetCache\Content.MSO\A882034F.tmp">
                <a:extLst>
                  <a:ext uri="{FF2B5EF4-FFF2-40B4-BE49-F238E27FC236}">
                    <a16:creationId xmlns:a16="http://schemas.microsoft.com/office/drawing/2014/main" id="{B9F677FA-A038-4329-A969-1776A1BC410E}"/>
                  </a:ext>
                </a:extLst>
              </p:cNvPr>
              <p:cNvPicPr/>
              <p:nvPr/>
            </p:nvPicPr>
            <p:blipFill rotWithShape="1">
              <a:blip r:embed="rId10">
                <a:extLst>
                  <a:ext uri="{28A0092B-C50C-407E-A947-70E740481C1C}">
                    <a14:useLocalDpi xmlns:a14="http://schemas.microsoft.com/office/drawing/2010/main" val="0"/>
                  </a:ext>
                </a:extLst>
              </a:blip>
              <a:srcRect t="2958" r="39541"/>
              <a:stretch/>
            </p:blipFill>
            <p:spPr bwMode="auto">
              <a:xfrm>
                <a:off x="377132" y="1403117"/>
                <a:ext cx="4347259" cy="3959294"/>
              </a:xfrm>
              <a:prstGeom prst="rect">
                <a:avLst/>
              </a:prstGeom>
              <a:noFill/>
              <a:ln w="28575">
                <a:solidFill>
                  <a:schemeClr val="tx1"/>
                </a:solidFill>
              </a:ln>
              <a:extLst>
                <a:ext uri="{53640926-AAD7-44D8-BBD7-CCE9431645EC}">
                  <a14:shadowObscured xmlns:a14="http://schemas.microsoft.com/office/drawing/2010/main"/>
                </a:ext>
              </a:extLst>
            </p:spPr>
          </p:pic>
          <p:sp>
            <p:nvSpPr>
              <p:cNvPr id="22" name="Rectangle 21">
                <a:extLst>
                  <a:ext uri="{FF2B5EF4-FFF2-40B4-BE49-F238E27FC236}">
                    <a16:creationId xmlns:a16="http://schemas.microsoft.com/office/drawing/2014/main" id="{2D5F7788-3F1E-400D-9511-3233EE09CB23}"/>
                  </a:ext>
                </a:extLst>
              </p:cNvPr>
              <p:cNvSpPr/>
              <p:nvPr/>
            </p:nvSpPr>
            <p:spPr>
              <a:xfrm>
                <a:off x="3560408" y="4745317"/>
                <a:ext cx="1103466" cy="38541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7" name="Picture 16">
              <a:extLst>
                <a:ext uri="{FF2B5EF4-FFF2-40B4-BE49-F238E27FC236}">
                  <a16:creationId xmlns:a16="http://schemas.microsoft.com/office/drawing/2014/main" id="{48C9944F-C877-433D-913F-48B38F673EBD}"/>
                </a:ext>
              </a:extLst>
            </p:cNvPr>
            <p:cNvPicPr/>
            <p:nvPr/>
          </p:nvPicPr>
          <p:blipFill>
            <a:blip r:embed="rId11">
              <a:extLst>
                <a:ext uri="{28A0092B-C50C-407E-A947-70E740481C1C}">
                  <a14:useLocalDpi xmlns:a14="http://schemas.microsoft.com/office/drawing/2010/main" val="0"/>
                </a:ext>
              </a:extLst>
            </a:blip>
            <a:stretch>
              <a:fillRect/>
            </a:stretch>
          </p:blipFill>
          <p:spPr>
            <a:xfrm>
              <a:off x="1552777" y="5551288"/>
              <a:ext cx="3171603" cy="805970"/>
            </a:xfrm>
            <a:prstGeom prst="rect">
              <a:avLst/>
            </a:prstGeom>
            <a:ln w="28575">
              <a:solidFill>
                <a:schemeClr val="tx1"/>
              </a:solidFill>
            </a:ln>
          </p:spPr>
        </p:pic>
        <p:cxnSp>
          <p:nvCxnSpPr>
            <p:cNvPr id="23" name="Straight Arrow Connector 22">
              <a:extLst>
                <a:ext uri="{FF2B5EF4-FFF2-40B4-BE49-F238E27FC236}">
                  <a16:creationId xmlns:a16="http://schemas.microsoft.com/office/drawing/2014/main" id="{87821FB3-D15F-4425-B995-190F0ADACE4A}"/>
                </a:ext>
              </a:extLst>
            </p:cNvPr>
            <p:cNvCxnSpPr>
              <a:cxnSpLocks/>
            </p:cNvCxnSpPr>
            <p:nvPr/>
          </p:nvCxnSpPr>
          <p:spPr>
            <a:xfrm>
              <a:off x="4335213" y="5146089"/>
              <a:ext cx="0" cy="701537"/>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314299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8"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kumimoji="0" lang="en-US" sz="2000" b="1" i="0" u="none" strike="noStrike" kern="1200" cap="none" spc="0" normalizeH="0" baseline="0" noProof="0">
                <a:ln w="0">
                  <a:noFill/>
                </a:ln>
                <a:solidFill>
                  <a:srgbClr val="000000"/>
                </a:solidFill>
                <a:effectLst/>
                <a:uLnTx/>
                <a:uFillTx/>
                <a:latin typeface="EYInterstate"/>
                <a:ea typeface="+mj-ea"/>
                <a:cs typeface="Arial"/>
              </a:rPr>
              <a:t>Step 11.2 of </a:t>
            </a:r>
            <a:r>
              <a:rPr lang="en-US" sz="2000" b="1">
                <a:ln w="0">
                  <a:noFill/>
                </a:ln>
                <a:solidFill>
                  <a:srgbClr val="000000"/>
                </a:solidFill>
                <a:latin typeface="EYInterstate"/>
                <a:cs typeface="Arial"/>
              </a:rPr>
              <a:t>12</a:t>
            </a:r>
            <a:r>
              <a:rPr kumimoji="0" lang="en-US" sz="2000" b="1" i="0" u="none" strike="noStrike" kern="1200" cap="none" spc="0" normalizeH="0" baseline="0" noProof="0">
                <a:ln w="0">
                  <a:noFill/>
                </a:ln>
                <a:solidFill>
                  <a:srgbClr val="000000"/>
                </a:solidFill>
                <a:effectLst/>
                <a:uLnTx/>
                <a:uFillTx/>
                <a:latin typeface="EYInterstate"/>
                <a:ea typeface="+mj-ea"/>
                <a:cs typeface="Arial"/>
              </a:rPr>
              <a:t>:</a:t>
            </a:r>
            <a:endParaRPr lang="en-US" sz="2000" b="1" i="0" u="none" strike="noStrike" kern="1200" cap="none" spc="0" normalizeH="0" baseline="0" noProof="0">
              <a:ln w="0">
                <a:noFill/>
              </a:ln>
              <a:solidFill>
                <a:srgbClr val="000000"/>
              </a:solidFill>
              <a:effectLst/>
              <a:uLnTx/>
              <a:uFillTx/>
              <a:latin typeface="EYInterstate"/>
              <a:cs typeface="Arial"/>
            </a:endParaRPr>
          </a:p>
        </p:txBody>
      </p:sp>
      <p:sp>
        <p:nvSpPr>
          <p:cNvPr id="11" name="Freeform 43">
            <a:extLst>
              <a:ext uri="{FF2B5EF4-FFF2-40B4-BE49-F238E27FC236}">
                <a16:creationId xmlns:a16="http://schemas.microsoft.com/office/drawing/2014/main" id="{F05B4A8E-78C0-42FA-AC31-D4D29053386D}"/>
              </a:ext>
            </a:extLst>
          </p:cNvPr>
          <p:cNvSpPr>
            <a:spLocks/>
          </p:cNvSpPr>
          <p:nvPr/>
        </p:nvSpPr>
        <p:spPr>
          <a:xfrm rot="5400000">
            <a:off x="6928233" y="3671288"/>
            <a:ext cx="5483425" cy="45719"/>
          </a:xfrm>
          <a:custGeom>
            <a:avLst/>
            <a:gdLst>
              <a:gd name="connsiteX0" fmla="*/ 0 w 11052722"/>
              <a:gd name="connsiteY0" fmla="*/ 0 h 120650"/>
              <a:gd name="connsiteX1" fmla="*/ 10692722 w 11052722"/>
              <a:gd name="connsiteY1" fmla="*/ 0 h 120650"/>
              <a:gd name="connsiteX2" fmla="*/ 10747924 w 11052722"/>
              <a:gd name="connsiteY2" fmla="*/ 0 h 120650"/>
              <a:gd name="connsiteX3" fmla="*/ 10992397 w 11052722"/>
              <a:gd name="connsiteY3" fmla="*/ 0 h 120650"/>
              <a:gd name="connsiteX4" fmla="*/ 11052722 w 11052722"/>
              <a:gd name="connsiteY4" fmla="*/ 60325 h 120650"/>
              <a:gd name="connsiteX5" fmla="*/ 10992397 w 11052722"/>
              <a:gd name="connsiteY5" fmla="*/ 120650 h 120650"/>
              <a:gd name="connsiteX6" fmla="*/ 10747924 w 11052722"/>
              <a:gd name="connsiteY6" fmla="*/ 120650 h 120650"/>
              <a:gd name="connsiteX7" fmla="*/ 10692722 w 11052722"/>
              <a:gd name="connsiteY7" fmla="*/ 120650 h 120650"/>
              <a:gd name="connsiteX8" fmla="*/ 0 w 11052722"/>
              <a:gd name="connsiteY8" fmla="*/ 120650 h 120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52722" h="120650">
                <a:moveTo>
                  <a:pt x="0" y="0"/>
                </a:moveTo>
                <a:lnTo>
                  <a:pt x="10692722" y="0"/>
                </a:lnTo>
                <a:lnTo>
                  <a:pt x="10747924" y="0"/>
                </a:lnTo>
                <a:lnTo>
                  <a:pt x="10992397" y="0"/>
                </a:lnTo>
                <a:lnTo>
                  <a:pt x="11052722" y="60325"/>
                </a:lnTo>
                <a:lnTo>
                  <a:pt x="10992397" y="120650"/>
                </a:lnTo>
                <a:lnTo>
                  <a:pt x="10747924" y="120650"/>
                </a:lnTo>
                <a:lnTo>
                  <a:pt x="10692722" y="120650"/>
                </a:lnTo>
                <a:lnTo>
                  <a:pt x="0" y="120650"/>
                </a:lnTo>
                <a:close/>
              </a:path>
            </a:pathLst>
          </a:custGeom>
          <a:solidFill>
            <a:schemeClr val="bg1">
              <a:lumMod val="8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 name="object 4">
            <a:extLst>
              <a:ext uri="{FF2B5EF4-FFF2-40B4-BE49-F238E27FC236}">
                <a16:creationId xmlns:a16="http://schemas.microsoft.com/office/drawing/2014/main" id="{97484700-38C9-49CC-AFE3-401E5C2E2E73}"/>
              </a:ext>
            </a:extLst>
          </p:cNvPr>
          <p:cNvSpPr txBox="1"/>
          <p:nvPr/>
        </p:nvSpPr>
        <p:spPr>
          <a:xfrm>
            <a:off x="356921" y="878820"/>
            <a:ext cx="8815445" cy="1197764"/>
          </a:xfrm>
          <a:prstGeom prst="rect">
            <a:avLst/>
          </a:prstGeom>
        </p:spPr>
        <p:txBody>
          <a:bodyPr vert="horz" wrap="square" lIns="0" tIns="12700" rIns="0" bIns="0" rtlCol="0" anchor="t">
            <a:spAutoFit/>
          </a:bodyPr>
          <a:lstStyle/>
          <a:p>
            <a:pPr marL="12065" marR="5080" defTabSz="457200">
              <a:spcAft>
                <a:spcPts val="600"/>
              </a:spcAft>
              <a:tabLst>
                <a:tab pos="241300" algn="l"/>
              </a:tabLst>
              <a:defRPr/>
            </a:pPr>
            <a:r>
              <a:rPr lang="en-US">
                <a:latin typeface="EYInterstate" panose="02000503020000020004" pitchFamily="2" charset="0"/>
              </a:rPr>
              <a:t>When you have completed all the required fields and attached the required document, your intake form will look similar to the example below. </a:t>
            </a:r>
          </a:p>
          <a:p>
            <a:pPr marL="12065" marR="5080" defTabSz="457200">
              <a:spcAft>
                <a:spcPts val="600"/>
              </a:spcAft>
              <a:tabLst>
                <a:tab pos="241300" algn="l"/>
              </a:tabLst>
              <a:defRPr/>
            </a:pPr>
            <a:r>
              <a:rPr lang="en-US">
                <a:latin typeface="EYInterstate" panose="02000503020000020004" pitchFamily="2" charset="0"/>
              </a:rPr>
              <a:t>Submit the form for processing and approval by selecting the blue </a:t>
            </a:r>
            <a:r>
              <a:rPr lang="en-US" b="1">
                <a:latin typeface="EYInterstate" panose="02000503020000020004" pitchFamily="2" charset="0"/>
              </a:rPr>
              <a:t>Submit</a:t>
            </a:r>
            <a:r>
              <a:rPr lang="en-US">
                <a:latin typeface="EYInterstate" panose="02000503020000020004" pitchFamily="2" charset="0"/>
              </a:rPr>
              <a:t> button in the top-right of the screen.</a:t>
            </a:r>
            <a:endParaRPr kumimoji="0" lang="en-US" sz="1600" b="0" i="0" u="none" strike="noStrike" kern="1200" cap="none" spc="0" normalizeH="0" baseline="0" noProof="0">
              <a:ln>
                <a:noFill/>
              </a:ln>
              <a:solidFill>
                <a:srgbClr val="000000"/>
              </a:solidFill>
              <a:effectLst/>
              <a:uLnTx/>
              <a:uFillTx/>
              <a:latin typeface="EYInterstate" panose="02000503020000020004" pitchFamily="2" charset="0"/>
            </a:endParaRPr>
          </a:p>
        </p:txBody>
      </p:sp>
      <p:grpSp>
        <p:nvGrpSpPr>
          <p:cNvPr id="2" name="Group 1">
            <a:extLst>
              <a:ext uri="{FF2B5EF4-FFF2-40B4-BE49-F238E27FC236}">
                <a16:creationId xmlns:a16="http://schemas.microsoft.com/office/drawing/2014/main" id="{1BD9247F-F62C-486F-B46F-28CF756A8DB2}"/>
              </a:ext>
            </a:extLst>
          </p:cNvPr>
          <p:cNvGrpSpPr/>
          <p:nvPr/>
        </p:nvGrpSpPr>
        <p:grpSpPr>
          <a:xfrm>
            <a:off x="1216626" y="2399497"/>
            <a:ext cx="7955740" cy="3832360"/>
            <a:chOff x="1216626" y="2399497"/>
            <a:chExt cx="7955740" cy="3832360"/>
          </a:xfrm>
        </p:grpSpPr>
        <p:pic>
          <p:nvPicPr>
            <p:cNvPr id="13" name="Picture 12" descr="C:\Users\HU778EK\AppData\Local\Microsoft\Windows\INetCache\Content.MSO\C965F935.tmp">
              <a:extLst>
                <a:ext uri="{FF2B5EF4-FFF2-40B4-BE49-F238E27FC236}">
                  <a16:creationId xmlns:a16="http://schemas.microsoft.com/office/drawing/2014/main" id="{67568EFF-B6A4-431D-9B06-5F7A4796D58C}"/>
                </a:ext>
              </a:extLst>
            </p:cNvPr>
            <p:cNvPicPr/>
            <p:nvPr/>
          </p:nvPicPr>
          <p:blipFill rotWithShape="1">
            <a:blip r:embed="rId7">
              <a:extLst>
                <a:ext uri="{28A0092B-C50C-407E-A947-70E740481C1C}">
                  <a14:useLocalDpi xmlns:a14="http://schemas.microsoft.com/office/drawing/2010/main" val="0"/>
                </a:ext>
              </a:extLst>
            </a:blip>
            <a:srcRect t="2059"/>
            <a:stretch/>
          </p:blipFill>
          <p:spPr bwMode="auto">
            <a:xfrm>
              <a:off x="1216626" y="2399497"/>
              <a:ext cx="7955740" cy="3832360"/>
            </a:xfrm>
            <a:prstGeom prst="rect">
              <a:avLst/>
            </a:prstGeom>
            <a:noFill/>
            <a:ln w="28575">
              <a:solidFill>
                <a:schemeClr val="tx1"/>
              </a:solidFill>
            </a:ln>
            <a:extLst>
              <a:ext uri="{53640926-AAD7-44D8-BBD7-CCE9431645EC}">
                <a14:shadowObscured xmlns:a14="http://schemas.microsoft.com/office/drawing/2010/main"/>
              </a:ext>
            </a:extLst>
          </p:spPr>
        </p:pic>
        <p:sp>
          <p:nvSpPr>
            <p:cNvPr id="25" name="Rectangle 24">
              <a:extLst>
                <a:ext uri="{FF2B5EF4-FFF2-40B4-BE49-F238E27FC236}">
                  <a16:creationId xmlns:a16="http://schemas.microsoft.com/office/drawing/2014/main" id="{62E2E481-4606-4BD4-8D5E-F25AB30BF51F}"/>
                </a:ext>
              </a:extLst>
            </p:cNvPr>
            <p:cNvSpPr/>
            <p:nvPr/>
          </p:nvSpPr>
          <p:spPr>
            <a:xfrm>
              <a:off x="6228538" y="2826048"/>
              <a:ext cx="2697021" cy="46203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Rectangle 11">
            <a:extLst>
              <a:ext uri="{FF2B5EF4-FFF2-40B4-BE49-F238E27FC236}">
                <a16:creationId xmlns:a16="http://schemas.microsoft.com/office/drawing/2014/main" id="{E6B17F7D-B21E-4888-915F-C4D114275924}"/>
              </a:ext>
            </a:extLst>
          </p:cNvPr>
          <p:cNvSpPr/>
          <p:nvPr/>
        </p:nvSpPr>
        <p:spPr>
          <a:xfrm>
            <a:off x="9722650" y="982220"/>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Audience</a:t>
            </a:r>
          </a:p>
        </p:txBody>
      </p:sp>
      <p:sp>
        <p:nvSpPr>
          <p:cNvPr id="14" name="Rectangle 13">
            <a:extLst>
              <a:ext uri="{FF2B5EF4-FFF2-40B4-BE49-F238E27FC236}">
                <a16:creationId xmlns:a16="http://schemas.microsoft.com/office/drawing/2014/main" id="{C8790A2E-14EC-431A-8D3D-A0C0112FFD41}"/>
              </a:ext>
            </a:extLst>
          </p:cNvPr>
          <p:cNvSpPr/>
          <p:nvPr/>
        </p:nvSpPr>
        <p:spPr>
          <a:xfrm>
            <a:off x="9858015" y="1403117"/>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a:t>
            </a:r>
            <a:r>
              <a:rPr lang="en-US" sz="1100" b="1">
                <a:solidFill>
                  <a:schemeClr val="tx1"/>
                </a:solidFill>
                <a:latin typeface="EYInterstate"/>
              </a:rPr>
              <a:t>Providers</a:t>
            </a:r>
            <a:endParaRPr kumimoji="0" lang="en-US" sz="1100" b="1" i="0" u="none" strike="noStrike" kern="1200" cap="none" spc="0" normalizeH="0" baseline="0" noProof="0">
              <a:ln>
                <a:noFill/>
              </a:ln>
              <a:solidFill>
                <a:schemeClr val="tx1"/>
              </a:solidFill>
              <a:effectLst/>
              <a:uLnTx/>
              <a:uFillTx/>
              <a:latin typeface="EYInterstate"/>
              <a:ea typeface="+mn-ea"/>
              <a:cs typeface="+mn-cs"/>
            </a:endParaRPr>
          </a:p>
        </p:txBody>
      </p:sp>
    </p:spTree>
    <p:extLst>
      <p:ext uri="{BB962C8B-B14F-4D97-AF65-F5344CB8AC3E}">
        <p14:creationId xmlns:p14="http://schemas.microsoft.com/office/powerpoint/2010/main" val="22673853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2"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kumimoji="0" lang="en-US" sz="2000" b="1" i="0" u="none" strike="noStrike" kern="1200" cap="none" spc="0" normalizeH="0" baseline="0" noProof="0">
                <a:ln w="0">
                  <a:noFill/>
                </a:ln>
                <a:solidFill>
                  <a:srgbClr val="000000"/>
                </a:solidFill>
                <a:effectLst/>
                <a:uLnTx/>
                <a:uFillTx/>
                <a:latin typeface="EYInterstate"/>
                <a:ea typeface="+mj-ea"/>
                <a:cs typeface="Arial"/>
              </a:rPr>
              <a:t>Step 12.2 of </a:t>
            </a:r>
            <a:r>
              <a:rPr lang="en-US" sz="2000" b="1">
                <a:ln w="0">
                  <a:noFill/>
                </a:ln>
                <a:solidFill>
                  <a:srgbClr val="000000"/>
                </a:solidFill>
                <a:latin typeface="EYInterstate"/>
                <a:cs typeface="Arial"/>
              </a:rPr>
              <a:t>12</a:t>
            </a:r>
            <a:r>
              <a:rPr kumimoji="0" lang="en-US" sz="2000" b="1" i="0" u="none" strike="noStrike" kern="1200" cap="none" spc="0" normalizeH="0" baseline="0" noProof="0">
                <a:ln w="0">
                  <a:noFill/>
                </a:ln>
                <a:solidFill>
                  <a:srgbClr val="000000"/>
                </a:solidFill>
                <a:effectLst/>
                <a:uLnTx/>
                <a:uFillTx/>
                <a:latin typeface="EYInterstate"/>
                <a:ea typeface="+mj-ea"/>
                <a:cs typeface="Arial"/>
              </a:rPr>
              <a:t>:</a:t>
            </a:r>
            <a:endParaRPr lang="en-US" sz="2000" b="1" i="0" u="none" strike="noStrike" kern="1200" cap="none" spc="0" normalizeH="0" baseline="0" noProof="0">
              <a:ln w="0">
                <a:noFill/>
              </a:ln>
              <a:solidFill>
                <a:srgbClr val="000000"/>
              </a:solidFill>
              <a:effectLst/>
              <a:uLnTx/>
              <a:uFillTx/>
              <a:latin typeface="EYInterstate"/>
              <a:cs typeface="Arial"/>
            </a:endParaRPr>
          </a:p>
        </p:txBody>
      </p:sp>
      <p:sp>
        <p:nvSpPr>
          <p:cNvPr id="11" name="Freeform 43">
            <a:extLst>
              <a:ext uri="{FF2B5EF4-FFF2-40B4-BE49-F238E27FC236}">
                <a16:creationId xmlns:a16="http://schemas.microsoft.com/office/drawing/2014/main" id="{F05B4A8E-78C0-42FA-AC31-D4D29053386D}"/>
              </a:ext>
            </a:extLst>
          </p:cNvPr>
          <p:cNvSpPr>
            <a:spLocks/>
          </p:cNvSpPr>
          <p:nvPr/>
        </p:nvSpPr>
        <p:spPr>
          <a:xfrm rot="5400000">
            <a:off x="6928233" y="3671288"/>
            <a:ext cx="5483425" cy="45719"/>
          </a:xfrm>
          <a:custGeom>
            <a:avLst/>
            <a:gdLst>
              <a:gd name="connsiteX0" fmla="*/ 0 w 11052722"/>
              <a:gd name="connsiteY0" fmla="*/ 0 h 120650"/>
              <a:gd name="connsiteX1" fmla="*/ 10692722 w 11052722"/>
              <a:gd name="connsiteY1" fmla="*/ 0 h 120650"/>
              <a:gd name="connsiteX2" fmla="*/ 10747924 w 11052722"/>
              <a:gd name="connsiteY2" fmla="*/ 0 h 120650"/>
              <a:gd name="connsiteX3" fmla="*/ 10992397 w 11052722"/>
              <a:gd name="connsiteY3" fmla="*/ 0 h 120650"/>
              <a:gd name="connsiteX4" fmla="*/ 11052722 w 11052722"/>
              <a:gd name="connsiteY4" fmla="*/ 60325 h 120650"/>
              <a:gd name="connsiteX5" fmla="*/ 10992397 w 11052722"/>
              <a:gd name="connsiteY5" fmla="*/ 120650 h 120650"/>
              <a:gd name="connsiteX6" fmla="*/ 10747924 w 11052722"/>
              <a:gd name="connsiteY6" fmla="*/ 120650 h 120650"/>
              <a:gd name="connsiteX7" fmla="*/ 10692722 w 11052722"/>
              <a:gd name="connsiteY7" fmla="*/ 120650 h 120650"/>
              <a:gd name="connsiteX8" fmla="*/ 0 w 11052722"/>
              <a:gd name="connsiteY8" fmla="*/ 120650 h 120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52722" h="120650">
                <a:moveTo>
                  <a:pt x="0" y="0"/>
                </a:moveTo>
                <a:lnTo>
                  <a:pt x="10692722" y="0"/>
                </a:lnTo>
                <a:lnTo>
                  <a:pt x="10747924" y="0"/>
                </a:lnTo>
                <a:lnTo>
                  <a:pt x="10992397" y="0"/>
                </a:lnTo>
                <a:lnTo>
                  <a:pt x="11052722" y="60325"/>
                </a:lnTo>
                <a:lnTo>
                  <a:pt x="10992397" y="120650"/>
                </a:lnTo>
                <a:lnTo>
                  <a:pt x="10747924" y="120650"/>
                </a:lnTo>
                <a:lnTo>
                  <a:pt x="10692722" y="120650"/>
                </a:lnTo>
                <a:lnTo>
                  <a:pt x="0" y="120650"/>
                </a:lnTo>
                <a:close/>
              </a:path>
            </a:pathLst>
          </a:custGeom>
          <a:solidFill>
            <a:schemeClr val="bg1">
              <a:lumMod val="8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 name="object 4">
            <a:extLst>
              <a:ext uri="{FF2B5EF4-FFF2-40B4-BE49-F238E27FC236}">
                <a16:creationId xmlns:a16="http://schemas.microsoft.com/office/drawing/2014/main" id="{97484700-38C9-49CC-AFE3-401E5C2E2E73}"/>
              </a:ext>
            </a:extLst>
          </p:cNvPr>
          <p:cNvSpPr txBox="1"/>
          <p:nvPr/>
        </p:nvSpPr>
        <p:spPr>
          <a:xfrm>
            <a:off x="356921" y="878820"/>
            <a:ext cx="8898050" cy="1197764"/>
          </a:xfrm>
          <a:prstGeom prst="rect">
            <a:avLst/>
          </a:prstGeom>
        </p:spPr>
        <p:txBody>
          <a:bodyPr vert="horz" wrap="square" lIns="0" tIns="12700" rIns="0" bIns="0" rtlCol="0" anchor="t">
            <a:spAutoFit/>
          </a:bodyPr>
          <a:lstStyle/>
          <a:p>
            <a:pPr marL="12065" marR="5080" defTabSz="457200">
              <a:spcAft>
                <a:spcPts val="600"/>
              </a:spcAft>
              <a:tabLst>
                <a:tab pos="241300" algn="l"/>
              </a:tabLst>
              <a:defRPr/>
            </a:pPr>
            <a:r>
              <a:rPr lang="en-US">
                <a:latin typeface="EYInterstate" panose="02000503020000020004" pitchFamily="2" charset="0"/>
              </a:rPr>
              <a:t>After the ticket submission, you may be brought to the screen shown below. This screen shows you your ticket’s lifespan and will be updated when any updates to your ticket become available. </a:t>
            </a:r>
          </a:p>
          <a:p>
            <a:pPr marL="12065" marR="5080" defTabSz="457200">
              <a:spcAft>
                <a:spcPts val="600"/>
              </a:spcAft>
              <a:tabLst>
                <a:tab pos="241300" algn="l"/>
              </a:tabLst>
              <a:defRPr/>
            </a:pPr>
            <a:r>
              <a:rPr lang="en-US">
                <a:latin typeface="EYInterstate" panose="02000503020000020004" pitchFamily="2" charset="0"/>
              </a:rPr>
              <a:t>You should receive your Case Ticket Number and associated notifications via email. </a:t>
            </a:r>
          </a:p>
        </p:txBody>
      </p:sp>
      <p:sp>
        <p:nvSpPr>
          <p:cNvPr id="12" name="Rectangle 11">
            <a:extLst>
              <a:ext uri="{FF2B5EF4-FFF2-40B4-BE49-F238E27FC236}">
                <a16:creationId xmlns:a16="http://schemas.microsoft.com/office/drawing/2014/main" id="{E6B17F7D-B21E-4888-915F-C4D114275924}"/>
              </a:ext>
            </a:extLst>
          </p:cNvPr>
          <p:cNvSpPr/>
          <p:nvPr/>
        </p:nvSpPr>
        <p:spPr>
          <a:xfrm>
            <a:off x="9722650" y="982220"/>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Audience</a:t>
            </a:r>
          </a:p>
        </p:txBody>
      </p:sp>
      <p:sp>
        <p:nvSpPr>
          <p:cNvPr id="14" name="Rectangle 13">
            <a:extLst>
              <a:ext uri="{FF2B5EF4-FFF2-40B4-BE49-F238E27FC236}">
                <a16:creationId xmlns:a16="http://schemas.microsoft.com/office/drawing/2014/main" id="{C8790A2E-14EC-431A-8D3D-A0C0112FFD41}"/>
              </a:ext>
            </a:extLst>
          </p:cNvPr>
          <p:cNvSpPr/>
          <p:nvPr/>
        </p:nvSpPr>
        <p:spPr>
          <a:xfrm>
            <a:off x="9858015" y="1403117"/>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Providers</a:t>
            </a:r>
          </a:p>
        </p:txBody>
      </p:sp>
      <p:pic>
        <p:nvPicPr>
          <p:cNvPr id="13" name="Picture 12" descr="C:\Users\HU778EK\AppData\Local\Microsoft\Windows\INetCache\Content.MSO\E091F60B.tmp">
            <a:extLst>
              <a:ext uri="{FF2B5EF4-FFF2-40B4-BE49-F238E27FC236}">
                <a16:creationId xmlns:a16="http://schemas.microsoft.com/office/drawing/2014/main" id="{2FA7B60E-E54A-4A72-840E-A25414737732}"/>
              </a:ext>
            </a:extLst>
          </p:cNvPr>
          <p:cNvPicPr/>
          <p:nvPr/>
        </p:nvPicPr>
        <p:blipFill rotWithShape="1">
          <a:blip r:embed="rId7">
            <a:extLst>
              <a:ext uri="{28A0092B-C50C-407E-A947-70E740481C1C}">
                <a14:useLocalDpi xmlns:a14="http://schemas.microsoft.com/office/drawing/2010/main" val="0"/>
              </a:ext>
            </a:extLst>
          </a:blip>
          <a:srcRect t="2040" r="26431" b="1"/>
          <a:stretch/>
        </p:blipFill>
        <p:spPr bwMode="auto">
          <a:xfrm>
            <a:off x="1695985" y="2476570"/>
            <a:ext cx="6481178" cy="3083279"/>
          </a:xfrm>
          <a:prstGeom prst="rect">
            <a:avLst/>
          </a:prstGeom>
          <a:noFill/>
          <a:ln w="28575">
            <a:solidFill>
              <a:schemeClr val="tx1"/>
            </a:solidFill>
          </a:ln>
          <a:extLst>
            <a:ext uri="{53640926-AAD7-44D8-BBD7-CCE9431645EC}">
              <a14:shadowObscured xmlns:a14="http://schemas.microsoft.com/office/drawing/2010/main"/>
            </a:ext>
          </a:extLst>
        </p:spPr>
      </p:pic>
      <p:sp>
        <p:nvSpPr>
          <p:cNvPr id="2" name="TextBox 1">
            <a:extLst>
              <a:ext uri="{FF2B5EF4-FFF2-40B4-BE49-F238E27FC236}">
                <a16:creationId xmlns:a16="http://schemas.microsoft.com/office/drawing/2014/main" id="{DBB453A1-70FF-4446-AA8B-6C396681D3BA}"/>
              </a:ext>
            </a:extLst>
          </p:cNvPr>
          <p:cNvSpPr txBox="1"/>
          <p:nvPr/>
        </p:nvSpPr>
        <p:spPr>
          <a:xfrm>
            <a:off x="9722650" y="2239902"/>
            <a:ext cx="2399012" cy="4062651"/>
          </a:xfrm>
          <a:prstGeom prst="rect">
            <a:avLst/>
          </a:prstGeom>
          <a:noFill/>
        </p:spPr>
        <p:txBody>
          <a:bodyPr wrap="square" rtlCol="0">
            <a:spAutoFit/>
          </a:bodyPr>
          <a:lstStyle/>
          <a:p>
            <a:pPr marL="12065" marR="5080" defTabSz="457200">
              <a:spcAft>
                <a:spcPts val="600"/>
              </a:spcAft>
              <a:tabLst>
                <a:tab pos="241300" algn="l"/>
              </a:tabLst>
              <a:defRPr/>
            </a:pPr>
            <a:endParaRPr lang="en-US" sz="1400">
              <a:latin typeface="EYInterstate" panose="02000503020000020004" pitchFamily="2" charset="0"/>
            </a:endParaRPr>
          </a:p>
          <a:p>
            <a:pPr marL="12065" marR="5080" defTabSz="457200">
              <a:spcAft>
                <a:spcPts val="600"/>
              </a:spcAft>
              <a:tabLst>
                <a:tab pos="241300" algn="l"/>
              </a:tabLst>
              <a:defRPr/>
            </a:pPr>
            <a:r>
              <a:rPr lang="en-US" sz="1400" b="1">
                <a:latin typeface="EYInterstate" panose="02000503020000020004" pitchFamily="2" charset="0"/>
              </a:rPr>
              <a:t>Note</a:t>
            </a:r>
          </a:p>
          <a:p>
            <a:pPr marL="12065" marR="5080" defTabSz="457200">
              <a:spcAft>
                <a:spcPts val="600"/>
              </a:spcAft>
              <a:tabLst>
                <a:tab pos="241300" algn="l"/>
              </a:tabLst>
              <a:defRPr/>
            </a:pPr>
            <a:r>
              <a:rPr lang="en-US" sz="1400">
                <a:latin typeface="EYInterstate" panose="02000503020000020004" pitchFamily="2" charset="0"/>
              </a:rPr>
              <a:t>Following your HCP Onboarding and Recipient Bulk Upload submissions, the HCP user/Recipient will receive an email once they have been provisioned for CVMS access.</a:t>
            </a:r>
          </a:p>
          <a:p>
            <a:pPr marL="12065" marR="5080" defTabSz="457200">
              <a:spcAft>
                <a:spcPts val="600"/>
              </a:spcAft>
              <a:tabLst>
                <a:tab pos="241300" algn="l"/>
              </a:tabLst>
              <a:defRPr/>
            </a:pPr>
            <a:endParaRPr lang="en-US" sz="1400">
              <a:latin typeface="EYInterstate" panose="02000503020000020004" pitchFamily="2" charset="0"/>
            </a:endParaRPr>
          </a:p>
          <a:p>
            <a:pPr marL="12065" marR="5080" defTabSz="457200">
              <a:spcAft>
                <a:spcPts val="600"/>
              </a:spcAft>
              <a:tabLst>
                <a:tab pos="241300" algn="l"/>
              </a:tabLst>
              <a:defRPr/>
            </a:pPr>
            <a:r>
              <a:rPr lang="en-US" sz="1400">
                <a:latin typeface="EYInterstate" panose="02000503020000020004" pitchFamily="2" charset="0"/>
              </a:rPr>
              <a:t>The email will include a link to the respective CVMS portal, along with that user’s login credentials to access that portal.</a:t>
            </a:r>
            <a:endParaRPr lang="en-US" sz="1200">
              <a:solidFill>
                <a:srgbClr val="000000"/>
              </a:solidFill>
              <a:latin typeface="EYInterstate" panose="02000503020000020004" pitchFamily="2" charset="0"/>
            </a:endParaRPr>
          </a:p>
        </p:txBody>
      </p:sp>
    </p:spTree>
    <p:extLst>
      <p:ext uri="{BB962C8B-B14F-4D97-AF65-F5344CB8AC3E}">
        <p14:creationId xmlns:p14="http://schemas.microsoft.com/office/powerpoint/2010/main" val="15541938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158C4595-E1F3-42A4-BF40-CF304C43227C}"/>
              </a:ext>
            </a:extLst>
          </p:cNvPr>
          <p:cNvSpPr txBox="1"/>
          <p:nvPr/>
        </p:nvSpPr>
        <p:spPr>
          <a:xfrm>
            <a:off x="5938515" y="1426372"/>
            <a:ext cx="3543361" cy="923330"/>
          </a:xfrm>
          <a:prstGeom prst="rect">
            <a:avLst/>
          </a:prstGeom>
          <a:noFill/>
        </p:spPr>
        <p:txBody>
          <a:bodyPr wrap="square" rtlCol="0">
            <a:spAutoFit/>
          </a:bodyPr>
          <a:lstStyle/>
          <a:p>
            <a:r>
              <a:rPr lang="en-US">
                <a:latin typeface="EYInterstate" panose="02000503020000020004" pitchFamily="2" charset="0"/>
              </a:rPr>
              <a:t>You should receive your Case Ticket Number and associated notifications via email. </a:t>
            </a:r>
          </a:p>
        </p:txBody>
      </p:sp>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26"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lang="en-US" sz="2000" b="1">
                <a:ln w="0">
                  <a:noFill/>
                </a:ln>
                <a:solidFill>
                  <a:srgbClr val="000000"/>
                </a:solidFill>
                <a:latin typeface="EYInterstate"/>
                <a:cs typeface="Arial"/>
              </a:rPr>
              <a:t>After your ticket is submitted…</a:t>
            </a:r>
            <a:endParaRPr lang="en-US" sz="2000" b="1" i="0" u="none" strike="noStrike" kern="1200" cap="none" spc="0" normalizeH="0" baseline="0" noProof="0">
              <a:ln w="0">
                <a:noFill/>
              </a:ln>
              <a:solidFill>
                <a:srgbClr val="000000"/>
              </a:solidFill>
              <a:effectLst/>
              <a:uLnTx/>
              <a:uFillTx/>
              <a:latin typeface="EYInterstate"/>
              <a:cs typeface="Arial"/>
            </a:endParaRPr>
          </a:p>
        </p:txBody>
      </p:sp>
      <p:sp>
        <p:nvSpPr>
          <p:cNvPr id="11" name="Freeform 43">
            <a:extLst>
              <a:ext uri="{FF2B5EF4-FFF2-40B4-BE49-F238E27FC236}">
                <a16:creationId xmlns:a16="http://schemas.microsoft.com/office/drawing/2014/main" id="{F05B4A8E-78C0-42FA-AC31-D4D29053386D}"/>
              </a:ext>
            </a:extLst>
          </p:cNvPr>
          <p:cNvSpPr>
            <a:spLocks/>
          </p:cNvSpPr>
          <p:nvPr/>
        </p:nvSpPr>
        <p:spPr>
          <a:xfrm rot="5400000">
            <a:off x="6928233" y="3671288"/>
            <a:ext cx="5483425" cy="45719"/>
          </a:xfrm>
          <a:custGeom>
            <a:avLst/>
            <a:gdLst>
              <a:gd name="connsiteX0" fmla="*/ 0 w 11052722"/>
              <a:gd name="connsiteY0" fmla="*/ 0 h 120650"/>
              <a:gd name="connsiteX1" fmla="*/ 10692722 w 11052722"/>
              <a:gd name="connsiteY1" fmla="*/ 0 h 120650"/>
              <a:gd name="connsiteX2" fmla="*/ 10747924 w 11052722"/>
              <a:gd name="connsiteY2" fmla="*/ 0 h 120650"/>
              <a:gd name="connsiteX3" fmla="*/ 10992397 w 11052722"/>
              <a:gd name="connsiteY3" fmla="*/ 0 h 120650"/>
              <a:gd name="connsiteX4" fmla="*/ 11052722 w 11052722"/>
              <a:gd name="connsiteY4" fmla="*/ 60325 h 120650"/>
              <a:gd name="connsiteX5" fmla="*/ 10992397 w 11052722"/>
              <a:gd name="connsiteY5" fmla="*/ 120650 h 120650"/>
              <a:gd name="connsiteX6" fmla="*/ 10747924 w 11052722"/>
              <a:gd name="connsiteY6" fmla="*/ 120650 h 120650"/>
              <a:gd name="connsiteX7" fmla="*/ 10692722 w 11052722"/>
              <a:gd name="connsiteY7" fmla="*/ 120650 h 120650"/>
              <a:gd name="connsiteX8" fmla="*/ 0 w 11052722"/>
              <a:gd name="connsiteY8" fmla="*/ 120650 h 120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52722" h="120650">
                <a:moveTo>
                  <a:pt x="0" y="0"/>
                </a:moveTo>
                <a:lnTo>
                  <a:pt x="10692722" y="0"/>
                </a:lnTo>
                <a:lnTo>
                  <a:pt x="10747924" y="0"/>
                </a:lnTo>
                <a:lnTo>
                  <a:pt x="10992397" y="0"/>
                </a:lnTo>
                <a:lnTo>
                  <a:pt x="11052722" y="60325"/>
                </a:lnTo>
                <a:lnTo>
                  <a:pt x="10992397" y="120650"/>
                </a:lnTo>
                <a:lnTo>
                  <a:pt x="10747924" y="120650"/>
                </a:lnTo>
                <a:lnTo>
                  <a:pt x="10692722" y="120650"/>
                </a:lnTo>
                <a:lnTo>
                  <a:pt x="0" y="120650"/>
                </a:lnTo>
                <a:close/>
              </a:path>
            </a:pathLst>
          </a:custGeom>
          <a:solidFill>
            <a:schemeClr val="bg1">
              <a:lumMod val="8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 name="object 4">
            <a:extLst>
              <a:ext uri="{FF2B5EF4-FFF2-40B4-BE49-F238E27FC236}">
                <a16:creationId xmlns:a16="http://schemas.microsoft.com/office/drawing/2014/main" id="{97484700-38C9-49CC-AFE3-401E5C2E2E73}"/>
              </a:ext>
            </a:extLst>
          </p:cNvPr>
          <p:cNvSpPr txBox="1"/>
          <p:nvPr/>
        </p:nvSpPr>
        <p:spPr>
          <a:xfrm>
            <a:off x="683803" y="1442661"/>
            <a:ext cx="3543361" cy="1397819"/>
          </a:xfrm>
          <a:prstGeom prst="rect">
            <a:avLst/>
          </a:prstGeom>
        </p:spPr>
        <p:txBody>
          <a:bodyPr vert="horz" wrap="square" lIns="0" tIns="12700" rIns="0" bIns="0" rtlCol="0" anchor="t">
            <a:spAutoFit/>
          </a:bodyPr>
          <a:lstStyle/>
          <a:p>
            <a:pPr marL="12065" marR="5080" defTabSz="457200">
              <a:spcAft>
                <a:spcPts val="600"/>
              </a:spcAft>
              <a:tabLst>
                <a:tab pos="241300" algn="l"/>
              </a:tabLst>
              <a:defRPr/>
            </a:pPr>
            <a:r>
              <a:rPr lang="en-US">
                <a:latin typeface="EYInterstate" panose="02000503020000020004" pitchFamily="2" charset="0"/>
              </a:rPr>
              <a:t>You will be brought to the screen shown </a:t>
            </a:r>
            <a:r>
              <a:rPr lang="en-US" b="1">
                <a:latin typeface="EYInterstate" panose="02000503020000020004" pitchFamily="2" charset="0"/>
              </a:rPr>
              <a:t>below</a:t>
            </a:r>
            <a:r>
              <a:rPr lang="en-US">
                <a:latin typeface="EYInterstate" panose="02000503020000020004" pitchFamily="2" charset="0"/>
              </a:rPr>
              <a:t>. This screen shows you your ticket’s lifespan and will be updated when any updates to your ticket become available.</a:t>
            </a:r>
          </a:p>
        </p:txBody>
      </p:sp>
      <p:sp>
        <p:nvSpPr>
          <p:cNvPr id="12" name="Rectangle 11">
            <a:extLst>
              <a:ext uri="{FF2B5EF4-FFF2-40B4-BE49-F238E27FC236}">
                <a16:creationId xmlns:a16="http://schemas.microsoft.com/office/drawing/2014/main" id="{E6B17F7D-B21E-4888-915F-C4D114275924}"/>
              </a:ext>
            </a:extLst>
          </p:cNvPr>
          <p:cNvSpPr/>
          <p:nvPr/>
        </p:nvSpPr>
        <p:spPr>
          <a:xfrm>
            <a:off x="9722650" y="982220"/>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Audience</a:t>
            </a:r>
          </a:p>
        </p:txBody>
      </p:sp>
      <p:sp>
        <p:nvSpPr>
          <p:cNvPr id="14" name="Rectangle 13">
            <a:extLst>
              <a:ext uri="{FF2B5EF4-FFF2-40B4-BE49-F238E27FC236}">
                <a16:creationId xmlns:a16="http://schemas.microsoft.com/office/drawing/2014/main" id="{C8790A2E-14EC-431A-8D3D-A0C0112FFD41}"/>
              </a:ext>
            </a:extLst>
          </p:cNvPr>
          <p:cNvSpPr/>
          <p:nvPr/>
        </p:nvSpPr>
        <p:spPr>
          <a:xfrm>
            <a:off x="9858015" y="1403117"/>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Providers</a:t>
            </a:r>
          </a:p>
        </p:txBody>
      </p:sp>
      <p:sp>
        <p:nvSpPr>
          <p:cNvPr id="3" name="TextBox 2">
            <a:extLst>
              <a:ext uri="{FF2B5EF4-FFF2-40B4-BE49-F238E27FC236}">
                <a16:creationId xmlns:a16="http://schemas.microsoft.com/office/drawing/2014/main" id="{B5B486A6-990C-4AE6-B9D6-6C7ACECE66F4}"/>
              </a:ext>
            </a:extLst>
          </p:cNvPr>
          <p:cNvSpPr txBox="1"/>
          <p:nvPr/>
        </p:nvSpPr>
        <p:spPr>
          <a:xfrm>
            <a:off x="393723" y="3444282"/>
            <a:ext cx="1369688" cy="238527"/>
          </a:xfrm>
          <a:prstGeom prst="rect">
            <a:avLst/>
          </a:prstGeom>
          <a:solidFill>
            <a:srgbClr val="F5F5F5"/>
          </a:solidFill>
        </p:spPr>
        <p:txBody>
          <a:bodyPr wrap="square" rtlCol="0">
            <a:spAutoFit/>
          </a:bodyPr>
          <a:lstStyle/>
          <a:p>
            <a:r>
              <a:rPr lang="en-US" sz="950" b="1">
                <a:solidFill>
                  <a:schemeClr val="bg2">
                    <a:lumMod val="50000"/>
                  </a:schemeClr>
                </a:solidFill>
              </a:rPr>
              <a:t>HCP User Onboarding </a:t>
            </a:r>
          </a:p>
        </p:txBody>
      </p:sp>
      <p:pic>
        <p:nvPicPr>
          <p:cNvPr id="13" name="Picture 12" descr="C:\Users\HU778EK\AppData\Local\Microsoft\Windows\INetCache\Content.MSO\E091F60B.tmp">
            <a:extLst>
              <a:ext uri="{FF2B5EF4-FFF2-40B4-BE49-F238E27FC236}">
                <a16:creationId xmlns:a16="http://schemas.microsoft.com/office/drawing/2014/main" id="{2FA7B60E-E54A-4A72-840E-A25414737732}"/>
              </a:ext>
            </a:extLst>
          </p:cNvPr>
          <p:cNvPicPr/>
          <p:nvPr/>
        </p:nvPicPr>
        <p:blipFill rotWithShape="1">
          <a:blip r:embed="rId7">
            <a:extLst>
              <a:ext uri="{28A0092B-C50C-407E-A947-70E740481C1C}">
                <a14:useLocalDpi xmlns:a14="http://schemas.microsoft.com/office/drawing/2010/main" val="0"/>
              </a:ext>
            </a:extLst>
          </a:blip>
          <a:srcRect t="2040" r="26431" b="21214"/>
          <a:stretch/>
        </p:blipFill>
        <p:spPr bwMode="auto">
          <a:xfrm>
            <a:off x="393723" y="3429000"/>
            <a:ext cx="5001097" cy="2219075"/>
          </a:xfrm>
          <a:prstGeom prst="rect">
            <a:avLst/>
          </a:prstGeom>
          <a:noFill/>
          <a:ln w="28575">
            <a:solidFill>
              <a:schemeClr val="tx1"/>
            </a:solidFill>
          </a:ln>
          <a:extLst>
            <a:ext uri="{53640926-AAD7-44D8-BBD7-CCE9431645EC}">
              <a14:shadowObscured xmlns:a14="http://schemas.microsoft.com/office/drawing/2010/main"/>
            </a:ext>
          </a:extLst>
        </p:spPr>
      </p:pic>
      <p:sp>
        <p:nvSpPr>
          <p:cNvPr id="5" name="TextBox 4">
            <a:extLst>
              <a:ext uri="{FF2B5EF4-FFF2-40B4-BE49-F238E27FC236}">
                <a16:creationId xmlns:a16="http://schemas.microsoft.com/office/drawing/2014/main" id="{26E0D95D-3DB6-4A31-A309-C8DDA1B89AFB}"/>
              </a:ext>
            </a:extLst>
          </p:cNvPr>
          <p:cNvSpPr txBox="1"/>
          <p:nvPr/>
        </p:nvSpPr>
        <p:spPr>
          <a:xfrm>
            <a:off x="393723" y="1057040"/>
            <a:ext cx="1471568" cy="369332"/>
          </a:xfrm>
          <a:prstGeom prst="rect">
            <a:avLst/>
          </a:prstGeom>
          <a:noFill/>
        </p:spPr>
        <p:txBody>
          <a:bodyPr wrap="square" rtlCol="0">
            <a:spAutoFit/>
          </a:bodyPr>
          <a:lstStyle/>
          <a:p>
            <a:r>
              <a:rPr lang="en-US" b="1">
                <a:latin typeface="EYInterstate" panose="02000503020000020004" pitchFamily="2" charset="0"/>
              </a:rPr>
              <a:t>1. Instantly</a:t>
            </a:r>
            <a:endParaRPr lang="en-US" b="1"/>
          </a:p>
        </p:txBody>
      </p:sp>
      <p:sp>
        <p:nvSpPr>
          <p:cNvPr id="6" name="TextBox 5">
            <a:extLst>
              <a:ext uri="{FF2B5EF4-FFF2-40B4-BE49-F238E27FC236}">
                <a16:creationId xmlns:a16="http://schemas.microsoft.com/office/drawing/2014/main" id="{BBC6B144-D3B5-4229-9EBF-D670E273DD09}"/>
              </a:ext>
            </a:extLst>
          </p:cNvPr>
          <p:cNvSpPr txBox="1"/>
          <p:nvPr/>
        </p:nvSpPr>
        <p:spPr>
          <a:xfrm>
            <a:off x="5648436" y="1057040"/>
            <a:ext cx="1848472" cy="369332"/>
          </a:xfrm>
          <a:prstGeom prst="rect">
            <a:avLst/>
          </a:prstGeom>
          <a:noFill/>
        </p:spPr>
        <p:txBody>
          <a:bodyPr wrap="square" rtlCol="0">
            <a:spAutoFit/>
          </a:bodyPr>
          <a:lstStyle/>
          <a:p>
            <a:r>
              <a:rPr lang="en-US" b="1">
                <a:latin typeface="EYInterstate" panose="02000503020000020004" pitchFamily="2" charset="0"/>
              </a:rPr>
              <a:t>2. Same day</a:t>
            </a:r>
            <a:endParaRPr lang="en-US" b="1"/>
          </a:p>
        </p:txBody>
      </p:sp>
      <p:grpSp>
        <p:nvGrpSpPr>
          <p:cNvPr id="18" name="Group 17">
            <a:extLst>
              <a:ext uri="{FF2B5EF4-FFF2-40B4-BE49-F238E27FC236}">
                <a16:creationId xmlns:a16="http://schemas.microsoft.com/office/drawing/2014/main" id="{348DFF19-8C4B-4452-9622-CDD9E12F9C26}"/>
              </a:ext>
            </a:extLst>
          </p:cNvPr>
          <p:cNvGrpSpPr/>
          <p:nvPr/>
        </p:nvGrpSpPr>
        <p:grpSpPr>
          <a:xfrm>
            <a:off x="5648436" y="2534368"/>
            <a:ext cx="3896770" cy="2400657"/>
            <a:chOff x="5648436" y="2534368"/>
            <a:chExt cx="3771006" cy="2400657"/>
          </a:xfrm>
        </p:grpSpPr>
        <p:sp>
          <p:nvSpPr>
            <p:cNvPr id="4" name="TextBox 3">
              <a:extLst>
                <a:ext uri="{FF2B5EF4-FFF2-40B4-BE49-F238E27FC236}">
                  <a16:creationId xmlns:a16="http://schemas.microsoft.com/office/drawing/2014/main" id="{15F9C3BD-016D-4D09-ABF1-AAFBC9D136B5}"/>
                </a:ext>
              </a:extLst>
            </p:cNvPr>
            <p:cNvSpPr txBox="1"/>
            <p:nvPr/>
          </p:nvSpPr>
          <p:spPr>
            <a:xfrm>
              <a:off x="5876081" y="2903700"/>
              <a:ext cx="3543361" cy="2031325"/>
            </a:xfrm>
            <a:prstGeom prst="rect">
              <a:avLst/>
            </a:prstGeom>
            <a:noFill/>
          </p:spPr>
          <p:txBody>
            <a:bodyPr wrap="square" rtlCol="0">
              <a:spAutoFit/>
            </a:bodyPr>
            <a:lstStyle/>
            <a:p>
              <a:pPr marL="12065" marR="5080" defTabSz="457200">
                <a:spcAft>
                  <a:spcPts val="600"/>
                </a:spcAft>
                <a:tabLst>
                  <a:tab pos="241300" algn="l"/>
                </a:tabLst>
                <a:defRPr/>
              </a:pPr>
              <a:r>
                <a:rPr lang="en-US">
                  <a:latin typeface="EYInterstate" panose="02000503020000020004" pitchFamily="2" charset="0"/>
                </a:rPr>
                <a:t>When the users included in the file have been provisioned for CVMS access, they will receive an email informing them of such and providing them with the link to the respective portal and their login credentials.</a:t>
              </a:r>
              <a:endParaRPr lang="en-US" sz="1400" b="1">
                <a:solidFill>
                  <a:srgbClr val="000000"/>
                </a:solidFill>
                <a:latin typeface="EYInterstate" panose="02000503020000020004" pitchFamily="2" charset="0"/>
              </a:endParaRPr>
            </a:p>
          </p:txBody>
        </p:sp>
        <p:sp>
          <p:nvSpPr>
            <p:cNvPr id="16" name="TextBox 15">
              <a:extLst>
                <a:ext uri="{FF2B5EF4-FFF2-40B4-BE49-F238E27FC236}">
                  <a16:creationId xmlns:a16="http://schemas.microsoft.com/office/drawing/2014/main" id="{11880F02-5366-4083-9EEE-BBECCC089AB9}"/>
                </a:ext>
              </a:extLst>
            </p:cNvPr>
            <p:cNvSpPr txBox="1"/>
            <p:nvPr/>
          </p:nvSpPr>
          <p:spPr>
            <a:xfrm>
              <a:off x="5648436" y="2534368"/>
              <a:ext cx="3543361" cy="369332"/>
            </a:xfrm>
            <a:prstGeom prst="rect">
              <a:avLst/>
            </a:prstGeom>
            <a:noFill/>
          </p:spPr>
          <p:txBody>
            <a:bodyPr wrap="square" rtlCol="0">
              <a:spAutoFit/>
            </a:bodyPr>
            <a:lstStyle/>
            <a:p>
              <a:r>
                <a:rPr lang="en-US" b="1">
                  <a:latin typeface="EYInterstate" panose="02000503020000020004" pitchFamily="2" charset="0"/>
                </a:rPr>
                <a:t>3. Within 2-3 business days</a:t>
              </a:r>
              <a:endParaRPr lang="en-US" b="1"/>
            </a:p>
          </p:txBody>
        </p:sp>
      </p:grpSp>
      <p:sp>
        <p:nvSpPr>
          <p:cNvPr id="10" name="Rectangle 9">
            <a:extLst>
              <a:ext uri="{FF2B5EF4-FFF2-40B4-BE49-F238E27FC236}">
                <a16:creationId xmlns:a16="http://schemas.microsoft.com/office/drawing/2014/main" id="{C2ABBAC8-5C5B-431A-B1B2-8A5FB5C302C0}"/>
              </a:ext>
            </a:extLst>
          </p:cNvPr>
          <p:cNvSpPr/>
          <p:nvPr/>
        </p:nvSpPr>
        <p:spPr>
          <a:xfrm>
            <a:off x="5731937" y="4935025"/>
            <a:ext cx="3771006" cy="1815882"/>
          </a:xfrm>
          <a:prstGeom prst="rect">
            <a:avLst/>
          </a:prstGeom>
        </p:spPr>
        <p:txBody>
          <a:bodyPr wrap="square">
            <a:spAutoFit/>
          </a:bodyPr>
          <a:lstStyle/>
          <a:p>
            <a:pPr marL="12065" marR="5080" defTabSz="457200">
              <a:spcAft>
                <a:spcPts val="600"/>
              </a:spcAft>
              <a:tabLst>
                <a:tab pos="241300" algn="l"/>
              </a:tabLst>
              <a:defRPr/>
            </a:pPr>
            <a:r>
              <a:rPr lang="en-US" sz="1600" b="1">
                <a:solidFill>
                  <a:srgbClr val="000000"/>
                </a:solidFill>
                <a:latin typeface="EYInterstate" panose="02000503020000020004" pitchFamily="2" charset="0"/>
              </a:rPr>
              <a:t>Note: If you have not received an email in 2-3 business days, feel free to submit a helpdesk ticket to request an update. Most likely, there is no problem with the submission and the approval is just delayed, but it doesn’t hurt to check!</a:t>
            </a:r>
          </a:p>
        </p:txBody>
      </p:sp>
    </p:spTree>
    <p:extLst>
      <p:ext uri="{BB962C8B-B14F-4D97-AF65-F5344CB8AC3E}">
        <p14:creationId xmlns:p14="http://schemas.microsoft.com/office/powerpoint/2010/main" val="18096963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954613E-E3F7-D44B-B1D7-C81E923F5BB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0"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0954613E-E3F7-D44B-B1D7-C81E923F5BB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DD44C1A4-CC9D-4A4B-B32B-18DEC47A3A50}"/>
              </a:ext>
            </a:extLst>
          </p:cNvPr>
          <p:cNvSpPr txBox="1"/>
          <p:nvPr/>
        </p:nvSpPr>
        <p:spPr>
          <a:xfrm>
            <a:off x="864523" y="2734358"/>
            <a:ext cx="2222083" cy="646331"/>
          </a:xfrm>
          <a:prstGeom prst="rect">
            <a:avLst/>
          </a:prstGeom>
          <a:noFill/>
        </p:spPr>
        <p:txBody>
          <a:bodyPr wrap="none" rtlCol="0">
            <a:spAutoFit/>
          </a:bodyPr>
          <a:lstStyle/>
          <a:p>
            <a:pPr lvl="0">
              <a:defRPr/>
            </a:pPr>
            <a:r>
              <a:rPr lang="en-US" sz="3600" b="1">
                <a:solidFill>
                  <a:prstClr val="white"/>
                </a:solidFill>
                <a:latin typeface="EYInterstate" panose="02000503020000020004" pitchFamily="2" charset="0"/>
              </a:rPr>
              <a:t>Appendix</a:t>
            </a:r>
            <a:endParaRPr lang="en-US" sz="2400" b="1">
              <a:solidFill>
                <a:prstClr val="white"/>
              </a:solidFill>
              <a:latin typeface="EYInterstate" panose="02000503020000020004" pitchFamily="2" charset="0"/>
            </a:endParaRPr>
          </a:p>
        </p:txBody>
      </p:sp>
    </p:spTree>
    <p:extLst>
      <p:ext uri="{BB962C8B-B14F-4D97-AF65-F5344CB8AC3E}">
        <p14:creationId xmlns:p14="http://schemas.microsoft.com/office/powerpoint/2010/main" val="38130866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4"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a:ln w="0">
                  <a:noFill/>
                </a:ln>
                <a:solidFill>
                  <a:srgbClr val="000000"/>
                </a:solidFill>
                <a:effectLst/>
                <a:uLnTx/>
                <a:uFillTx/>
                <a:latin typeface="EYInterstate"/>
                <a:ea typeface="+mj-ea"/>
                <a:cs typeface="Arial"/>
              </a:rPr>
              <a:t>Additional Notes</a:t>
            </a:r>
          </a:p>
        </p:txBody>
      </p:sp>
      <p:cxnSp>
        <p:nvCxnSpPr>
          <p:cNvPr id="9" name="Straight Arrow Connector 8">
            <a:extLst>
              <a:ext uri="{FF2B5EF4-FFF2-40B4-BE49-F238E27FC236}">
                <a16:creationId xmlns:a16="http://schemas.microsoft.com/office/drawing/2014/main" id="{CE0EA485-49A3-4D08-AC46-48F0A11D58BA}"/>
              </a:ext>
            </a:extLst>
          </p:cNvPr>
          <p:cNvCxnSpPr>
            <a:cxnSpLocks/>
          </p:cNvCxnSpPr>
          <p:nvPr/>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
        <p:nvSpPr>
          <p:cNvPr id="6" name="object 4">
            <a:extLst>
              <a:ext uri="{FF2B5EF4-FFF2-40B4-BE49-F238E27FC236}">
                <a16:creationId xmlns:a16="http://schemas.microsoft.com/office/drawing/2014/main" id="{E841121C-0B87-45EF-9992-D117D47969D7}"/>
              </a:ext>
            </a:extLst>
          </p:cNvPr>
          <p:cNvSpPr txBox="1"/>
          <p:nvPr/>
        </p:nvSpPr>
        <p:spPr>
          <a:xfrm>
            <a:off x="407743" y="833500"/>
            <a:ext cx="11474771" cy="5039841"/>
          </a:xfrm>
          <a:prstGeom prst="rect">
            <a:avLst/>
          </a:prstGeom>
        </p:spPr>
        <p:txBody>
          <a:bodyPr vert="horz" wrap="square" lIns="0" tIns="12700" rIns="0" bIns="0" rtlCol="0" anchor="t">
            <a:spAutoFit/>
          </a:bodyPr>
          <a:lstStyle/>
          <a:p>
            <a:pPr marL="12065" marR="5080" defTabSz="457200">
              <a:lnSpc>
                <a:spcPct val="150000"/>
              </a:lnSpc>
              <a:spcBef>
                <a:spcPts val="100"/>
              </a:spcBef>
              <a:tabLst>
                <a:tab pos="241300" algn="l"/>
              </a:tabLst>
              <a:defRPr/>
            </a:pPr>
            <a:r>
              <a:rPr lang="en-US" sz="1600" b="1">
                <a:solidFill>
                  <a:srgbClr val="000000"/>
                </a:solidFill>
                <a:latin typeface="EYInterstate"/>
              </a:rPr>
              <a:t>Key Items:</a:t>
            </a:r>
          </a:p>
          <a:p>
            <a:pPr marL="297815" marR="5080" indent="-285750" defTabSz="457200">
              <a:lnSpc>
                <a:spcPct val="150000"/>
              </a:lnSpc>
              <a:spcBef>
                <a:spcPts val="100"/>
              </a:spcBef>
              <a:buFont typeface="Arial" panose="020B0604020202020204" pitchFamily="34" charset="0"/>
              <a:buChar char="•"/>
              <a:tabLst>
                <a:tab pos="241300" algn="l"/>
              </a:tabLst>
              <a:defRPr/>
            </a:pPr>
            <a:r>
              <a:rPr lang="en-US" sz="1600" b="1">
                <a:solidFill>
                  <a:schemeClr val="accent1"/>
                </a:solidFill>
              </a:rPr>
              <a:t>Hyperlink</a:t>
            </a:r>
            <a:r>
              <a:rPr lang="en-US" sz="1600"/>
              <a:t>s appear as light blue and will provide additional information or navigation.</a:t>
            </a:r>
          </a:p>
          <a:p>
            <a:pPr marL="297815" marR="5080" indent="-285750" defTabSz="457200">
              <a:lnSpc>
                <a:spcPct val="150000"/>
              </a:lnSpc>
              <a:spcBef>
                <a:spcPts val="100"/>
              </a:spcBef>
              <a:buFont typeface="Arial" panose="020B0604020202020204" pitchFamily="34" charset="0"/>
              <a:buChar char="•"/>
              <a:tabLst>
                <a:tab pos="241300" algn="l"/>
              </a:tabLst>
              <a:defRPr/>
            </a:pPr>
            <a:r>
              <a:rPr lang="en-US" sz="1600" b="1">
                <a:solidFill>
                  <a:srgbClr val="FF0000"/>
                </a:solidFill>
                <a:latin typeface="EYInterstate"/>
              </a:rPr>
              <a:t>* Asterisks </a:t>
            </a:r>
            <a:r>
              <a:rPr lang="en-US" sz="1600">
                <a:latin typeface="EYInterstate"/>
              </a:rPr>
              <a:t>are used to denote required information.</a:t>
            </a:r>
          </a:p>
          <a:p>
            <a:pPr marL="297815" marR="5080" indent="-285750" defTabSz="457200">
              <a:lnSpc>
                <a:spcPct val="150000"/>
              </a:lnSpc>
              <a:spcBef>
                <a:spcPts val="100"/>
              </a:spcBef>
              <a:buFont typeface="Arial" panose="020B0604020202020204" pitchFamily="34" charset="0"/>
              <a:buChar char="•"/>
              <a:tabLst>
                <a:tab pos="241300" algn="l"/>
              </a:tabLst>
              <a:defRPr/>
            </a:pPr>
            <a:r>
              <a:rPr lang="en-US" sz="1600">
                <a:latin typeface="EYInterstate"/>
              </a:rPr>
              <a:t>    A Toggle can be clicked to see selectable options.</a:t>
            </a:r>
          </a:p>
          <a:p>
            <a:pPr marL="297815" marR="5080" indent="-285750" defTabSz="457200">
              <a:lnSpc>
                <a:spcPct val="150000"/>
              </a:lnSpc>
              <a:spcBef>
                <a:spcPts val="100"/>
              </a:spcBef>
              <a:buFont typeface="Arial" panose="020B0604020202020204" pitchFamily="34" charset="0"/>
              <a:buChar char="•"/>
              <a:tabLst>
                <a:tab pos="241300" algn="l"/>
              </a:tabLst>
              <a:defRPr/>
            </a:pPr>
            <a:r>
              <a:rPr lang="en-US" sz="1600">
                <a:latin typeface="EYInterstate"/>
              </a:rPr>
              <a:t>      A Pen can be clicked to make edits to the field.</a:t>
            </a:r>
          </a:p>
          <a:p>
            <a:pPr marL="297815" marR="5080" indent="-285750" defTabSz="457200">
              <a:lnSpc>
                <a:spcPct val="150000"/>
              </a:lnSpc>
              <a:spcBef>
                <a:spcPts val="100"/>
              </a:spcBef>
              <a:buFont typeface="Arial" panose="020B0604020202020204" pitchFamily="34" charset="0"/>
              <a:buChar char="•"/>
              <a:tabLst>
                <a:tab pos="241300" algn="l"/>
              </a:tabLst>
              <a:defRPr/>
            </a:pPr>
            <a:r>
              <a:rPr lang="en-US" sz="1600">
                <a:latin typeface="EYInterstate"/>
              </a:rPr>
              <a:t>                    Navigation Buttons can be clicked on to progress to the “next” or the “previous” step in a task.</a:t>
            </a:r>
          </a:p>
          <a:p>
            <a:pPr marL="297815" marR="5080" indent="-285750" defTabSz="457200">
              <a:lnSpc>
                <a:spcPct val="150000"/>
              </a:lnSpc>
              <a:spcBef>
                <a:spcPts val="100"/>
              </a:spcBef>
              <a:buFont typeface="Arial" panose="020B0604020202020204" pitchFamily="34" charset="0"/>
              <a:buChar char="•"/>
              <a:tabLst>
                <a:tab pos="241300" algn="l"/>
              </a:tabLst>
              <a:defRPr/>
            </a:pPr>
            <a:r>
              <a:rPr lang="en-US" sz="1600">
                <a:latin typeface="EYInterstate"/>
              </a:rPr>
              <a:t>             A Pause button can be clicked if you wish to step away / and return to your form later. You will be prompted to review your previously entered data upon your return/ login. </a:t>
            </a:r>
          </a:p>
          <a:p>
            <a:pPr marL="12065" marR="5080" defTabSz="457200">
              <a:lnSpc>
                <a:spcPct val="150000"/>
              </a:lnSpc>
              <a:spcBef>
                <a:spcPts val="100"/>
              </a:spcBef>
              <a:tabLst>
                <a:tab pos="241300" algn="l"/>
              </a:tabLst>
              <a:defRPr/>
            </a:pPr>
            <a:r>
              <a:rPr lang="en-US" sz="1600" b="1">
                <a:solidFill>
                  <a:srgbClr val="000000"/>
                </a:solidFill>
                <a:latin typeface="EYInterstate"/>
              </a:rPr>
              <a:t>Questions: </a:t>
            </a:r>
          </a:p>
          <a:p>
            <a:pPr marL="285750" indent="-285750" fontAlgn="base">
              <a:buFont typeface="Arial" panose="020B0604020202020204" pitchFamily="34" charset="0"/>
              <a:buChar char="•"/>
            </a:pPr>
            <a:r>
              <a:rPr lang="en-US" sz="1600"/>
              <a:t>For frequently asked questions and answers, visit </a:t>
            </a:r>
            <a:r>
              <a:rPr lang="en-US" sz="1600" u="sng"/>
              <a:t> </a:t>
            </a:r>
            <a:r>
              <a:rPr lang="en-US" sz="1600">
                <a:hlinkClick r:id="rId7"/>
              </a:rPr>
              <a:t>Knowledge Home - CVMS Vaccine Support (servicenowservices.com)</a:t>
            </a:r>
            <a:r>
              <a:rPr lang="en-US" sz="1600"/>
              <a:t>.</a:t>
            </a:r>
            <a:endParaRPr lang="en-US" sz="1600" b="1">
              <a:solidFill>
                <a:srgbClr val="000000"/>
              </a:solidFill>
              <a:latin typeface="EYInterstate"/>
            </a:endParaRPr>
          </a:p>
          <a:p>
            <a:pPr marL="12065" marR="5080" lvl="0" algn="l" defTabSz="457200" rtl="0" eaLnBrk="1" fontAlgn="auto" latinLnBrk="0" hangingPunct="1">
              <a:lnSpc>
                <a:spcPct val="150000"/>
              </a:lnSpc>
              <a:spcBef>
                <a:spcPts val="100"/>
              </a:spcBef>
              <a:spcAft>
                <a:spcPts val="0"/>
              </a:spcAft>
              <a:buClrTx/>
              <a:buSzTx/>
              <a:tabLst>
                <a:tab pos="241300" algn="l"/>
              </a:tabLst>
              <a:defRPr/>
            </a:pPr>
            <a:r>
              <a:rPr kumimoji="0" lang="en-US" sz="1600" b="1" i="0" u="none" strike="noStrike" kern="1200" cap="none" spc="0" normalizeH="0" baseline="0" noProof="0">
                <a:ln>
                  <a:noFill/>
                </a:ln>
                <a:solidFill>
                  <a:srgbClr val="000000"/>
                </a:solidFill>
                <a:effectLst/>
                <a:uLnTx/>
                <a:uFillTx/>
                <a:latin typeface="EYInterstate"/>
                <a:ea typeface="+mn-ea"/>
                <a:cs typeface="+mn-cs"/>
              </a:rPr>
              <a:t>Supported Web Browsers:</a:t>
            </a:r>
          </a:p>
          <a:p>
            <a:pPr marL="285750" indent="-285750">
              <a:buFont typeface="Arial" panose="020B0604020202020204" pitchFamily="34" charset="0"/>
              <a:buChar char="•"/>
            </a:pPr>
            <a:r>
              <a:rPr lang="en-US" sz="1600"/>
              <a:t>Please use the latest version of Chrome, Firefox, Safari, or Edge Chromium browsers to access CVMS.</a:t>
            </a:r>
          </a:p>
          <a:p>
            <a:pPr marL="285750" indent="-285750">
              <a:buFont typeface="Arial" panose="020B0604020202020204" pitchFamily="34" charset="0"/>
              <a:buChar char="•"/>
            </a:pPr>
            <a:r>
              <a:rPr lang="en-US" sz="1600"/>
              <a:t>For more information on supported browsers, see </a:t>
            </a:r>
            <a:r>
              <a:rPr lang="en-US" sz="1600" b="1" u="sng">
                <a:hlinkClick r:id="rId8"/>
              </a:rPr>
              <a:t>https://help.salesforce.com/articleView?id=getstart_browsers_sfx.htm&amp;type=5</a:t>
            </a:r>
            <a:endParaRPr lang="en-US" sz="1600"/>
          </a:p>
          <a:p>
            <a:pPr marL="285750" indent="-285750">
              <a:buFont typeface="Arial" panose="020B0604020202020204" pitchFamily="34" charset="0"/>
              <a:buChar char="•"/>
            </a:pPr>
            <a:r>
              <a:rPr lang="en-US" sz="1600"/>
              <a:t>Note: Internet Explorer and Edge (Non-Chromium) are not supported.</a:t>
            </a:r>
          </a:p>
          <a:p>
            <a:endParaRPr lang="en-US" sz="1600"/>
          </a:p>
        </p:txBody>
      </p:sp>
      <p:pic>
        <p:nvPicPr>
          <p:cNvPr id="97287" name="Picture 7">
            <a:extLst>
              <a:ext uri="{FF2B5EF4-FFF2-40B4-BE49-F238E27FC236}">
                <a16:creationId xmlns:a16="http://schemas.microsoft.com/office/drawing/2014/main" id="{CCCF4E5D-3184-49FC-9E62-CC09501B95B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8920" y="2097265"/>
            <a:ext cx="228600" cy="209550"/>
          </a:xfrm>
          <a:prstGeom prst="rect">
            <a:avLst/>
          </a:prstGeom>
          <a:noFill/>
          <a:extLst>
            <a:ext uri="{909E8E84-426E-40DD-AFC4-6F175D3DCCD1}">
              <a14:hiddenFill xmlns:a14="http://schemas.microsoft.com/office/drawing/2010/main">
                <a:solidFill>
                  <a:srgbClr val="FFFFFF"/>
                </a:solidFill>
              </a14:hiddenFill>
            </a:ext>
          </a:extLst>
        </p:spPr>
      </p:pic>
      <p:pic>
        <p:nvPicPr>
          <p:cNvPr id="97289" name="Picture 9">
            <a:extLst>
              <a:ext uri="{FF2B5EF4-FFF2-40B4-BE49-F238E27FC236}">
                <a16:creationId xmlns:a16="http://schemas.microsoft.com/office/drawing/2014/main" id="{95617E9A-A4AE-4218-AB53-3324D03B1BA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53097" y="2491779"/>
            <a:ext cx="228600" cy="190500"/>
          </a:xfrm>
          <a:prstGeom prst="rect">
            <a:avLst/>
          </a:prstGeom>
          <a:noFill/>
          <a:extLst>
            <a:ext uri="{909E8E84-426E-40DD-AFC4-6F175D3DCCD1}">
              <a14:hiddenFill xmlns:a14="http://schemas.microsoft.com/office/drawing/2010/main">
                <a:solidFill>
                  <a:srgbClr val="FFFFFF"/>
                </a:solidFill>
              </a14:hiddenFill>
            </a:ext>
          </a:extLst>
        </p:spPr>
      </p:pic>
      <p:pic>
        <p:nvPicPr>
          <p:cNvPr id="97291" name="Picture 11">
            <a:extLst>
              <a:ext uri="{FF2B5EF4-FFF2-40B4-BE49-F238E27FC236}">
                <a16:creationId xmlns:a16="http://schemas.microsoft.com/office/drawing/2014/main" id="{14DD0EEB-28CE-40DF-9939-E128F6EACBF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94618" y="2824711"/>
            <a:ext cx="995964" cy="268374"/>
          </a:xfrm>
          <a:prstGeom prst="rect">
            <a:avLst/>
          </a:prstGeom>
          <a:noFill/>
          <a:extLst>
            <a:ext uri="{909E8E84-426E-40DD-AFC4-6F175D3DCCD1}">
              <a14:hiddenFill xmlns:a14="http://schemas.microsoft.com/office/drawing/2010/main">
                <a:solidFill>
                  <a:srgbClr val="FFFFFF"/>
                </a:solidFill>
              </a14:hiddenFill>
            </a:ext>
          </a:extLst>
        </p:spPr>
      </p:pic>
      <p:pic>
        <p:nvPicPr>
          <p:cNvPr id="97293" name="Picture 13">
            <a:extLst>
              <a:ext uri="{FF2B5EF4-FFF2-40B4-BE49-F238E27FC236}">
                <a16:creationId xmlns:a16="http://schemas.microsoft.com/office/drawing/2014/main" id="{5EDB2E5A-8343-444C-BC13-7F05B70D5ED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06619" y="3200175"/>
            <a:ext cx="550155" cy="2750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17828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954613E-E3F7-D44B-B1D7-C81E923F5BB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0954613E-E3F7-D44B-B1D7-C81E923F5BB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789C9C7E-D7E1-4405-A202-15191D01D808}"/>
              </a:ext>
            </a:extLst>
          </p:cNvPr>
          <p:cNvSpPr txBox="1"/>
          <p:nvPr/>
        </p:nvSpPr>
        <p:spPr>
          <a:xfrm>
            <a:off x="864524" y="2734358"/>
            <a:ext cx="10238906" cy="1200329"/>
          </a:xfrm>
          <a:prstGeom prst="rect">
            <a:avLst/>
          </a:prstGeom>
          <a:noFill/>
        </p:spPr>
        <p:txBody>
          <a:bodyPr wrap="square" rtlCol="0">
            <a:spAutoFit/>
          </a:bodyPr>
          <a:lstStyle/>
          <a:p>
            <a:pPr lvl="0">
              <a:defRPr/>
            </a:pPr>
            <a:r>
              <a:rPr lang="en-US" sz="3600" b="1">
                <a:solidFill>
                  <a:prstClr val="white"/>
                </a:solidFill>
                <a:latin typeface="EYInterstate" panose="02000503020000020004" pitchFamily="2" charset="0"/>
              </a:rPr>
              <a:t>COVID-19 ServiceNow HCP Onboarding and Recipient Bulk Upload</a:t>
            </a:r>
          </a:p>
        </p:txBody>
      </p:sp>
      <p:sp>
        <p:nvSpPr>
          <p:cNvPr id="8" name="TextBox 7">
            <a:extLst>
              <a:ext uri="{FF2B5EF4-FFF2-40B4-BE49-F238E27FC236}">
                <a16:creationId xmlns:a16="http://schemas.microsoft.com/office/drawing/2014/main" id="{58533F3E-DFD1-42E2-B448-4096089212B3}"/>
              </a:ext>
            </a:extLst>
          </p:cNvPr>
          <p:cNvSpPr txBox="1"/>
          <p:nvPr/>
        </p:nvSpPr>
        <p:spPr>
          <a:xfrm>
            <a:off x="864524" y="3821931"/>
            <a:ext cx="1594988" cy="523220"/>
          </a:xfrm>
          <a:prstGeom prst="rect">
            <a:avLst/>
          </a:prstGeom>
          <a:noFill/>
        </p:spPr>
        <p:txBody>
          <a:bodyPr wrap="none" rtlCol="0">
            <a:spAutoFit/>
          </a:bodyPr>
          <a:lstStyle/>
          <a:p>
            <a:pPr lvl="0">
              <a:defRPr/>
            </a:pPr>
            <a:r>
              <a:rPr lang="en-US" sz="2800">
                <a:solidFill>
                  <a:prstClr val="white"/>
                </a:solidFill>
                <a:latin typeface="EYInterstate" panose="02000503020000020004" pitchFamily="2" charset="0"/>
              </a:rPr>
              <a:t>Timeline</a:t>
            </a:r>
          </a:p>
        </p:txBody>
      </p:sp>
    </p:spTree>
    <p:extLst>
      <p:ext uri="{BB962C8B-B14F-4D97-AF65-F5344CB8AC3E}">
        <p14:creationId xmlns:p14="http://schemas.microsoft.com/office/powerpoint/2010/main" val="9462665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1">
            <a:extLst>
              <a:ext uri="{FF2B5EF4-FFF2-40B4-BE49-F238E27FC236}">
                <a16:creationId xmlns:a16="http://schemas.microsoft.com/office/drawing/2014/main" id="{6BEA930D-A79D-48B7-8C36-233F22E7D2AC}"/>
              </a:ext>
            </a:extLst>
          </p:cNvPr>
          <p:cNvSpPr txBox="1">
            <a:spLocks/>
          </p:cNvSpPr>
          <p:nvPr/>
        </p:nvSpPr>
        <p:spPr>
          <a:xfrm>
            <a:off x="297157" y="42753"/>
            <a:ext cx="11718897" cy="1047707"/>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000" b="1">
                <a:solidFill>
                  <a:schemeClr val="tx1"/>
                </a:solidFill>
                <a:latin typeface="EYInterstate" panose="02000503020000020004" pitchFamily="2" charset="0"/>
                <a:cs typeface="Calibri"/>
              </a:rPr>
              <a:t>COVID-19 Vaccine HCP Onboarding/Recipient Bulk Upload Timeline</a:t>
            </a:r>
          </a:p>
          <a:p>
            <a:r>
              <a:rPr lang="en-US" sz="1400" i="1">
                <a:solidFill>
                  <a:schemeClr val="tx1"/>
                </a:solidFill>
                <a:latin typeface="EYInterstate" panose="02000503020000020004" pitchFamily="2" charset="0"/>
                <a:cs typeface="Calibri"/>
              </a:rPr>
              <a:t>What is the process your HCP Onboarding and Bulk Upload requests go through and how long does it take?</a:t>
            </a:r>
          </a:p>
        </p:txBody>
      </p:sp>
      <p:cxnSp>
        <p:nvCxnSpPr>
          <p:cNvPr id="6" name="Straight Arrow Connector 5">
            <a:extLst>
              <a:ext uri="{FF2B5EF4-FFF2-40B4-BE49-F238E27FC236}">
                <a16:creationId xmlns:a16="http://schemas.microsoft.com/office/drawing/2014/main" id="{BD310EBA-D9DD-4780-90C1-2FAE303E0861}"/>
              </a:ext>
            </a:extLst>
          </p:cNvPr>
          <p:cNvCxnSpPr>
            <a:cxnSpLocks/>
          </p:cNvCxnSpPr>
          <p:nvPr/>
        </p:nvCxnSpPr>
        <p:spPr>
          <a:xfrm flipV="1">
            <a:off x="349183" y="1019036"/>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
        <p:nvSpPr>
          <p:cNvPr id="116" name="Rectangle 115">
            <a:extLst>
              <a:ext uri="{FF2B5EF4-FFF2-40B4-BE49-F238E27FC236}">
                <a16:creationId xmlns:a16="http://schemas.microsoft.com/office/drawing/2014/main" id="{31E0B6F1-485A-4C22-8B1B-4BD6357662A2}"/>
              </a:ext>
            </a:extLst>
          </p:cNvPr>
          <p:cNvSpPr/>
          <p:nvPr/>
        </p:nvSpPr>
        <p:spPr>
          <a:xfrm>
            <a:off x="6444218" y="2768438"/>
            <a:ext cx="1737360" cy="1092607"/>
          </a:xfrm>
          <a:prstGeom prst="rect">
            <a:avLst/>
          </a:prstGeom>
          <a:noFill/>
        </p:spPr>
        <p:txBody>
          <a:bodyPr wrap="square" lIns="0" tIns="45720" rIns="0" bIns="45720" rtlCol="0" anchor="t">
            <a:spAutoFit/>
          </a:bodyPr>
          <a:lstStyle/>
          <a:p>
            <a:pPr marL="12065" marR="5080" defTabSz="457200">
              <a:spcAft>
                <a:spcPts val="600"/>
              </a:spcAft>
              <a:tabLst>
                <a:tab pos="241300" algn="l"/>
              </a:tabLst>
              <a:defRPr/>
            </a:pPr>
            <a:endParaRPr lang="en-US" sz="1000">
              <a:solidFill>
                <a:srgbClr val="000000"/>
              </a:solidFill>
              <a:latin typeface="EYInterstate"/>
            </a:endParaRPr>
          </a:p>
          <a:p>
            <a:pPr defTabSz="914400">
              <a:defRPr/>
            </a:pPr>
            <a:endParaRPr lang="en-US" sz="1000">
              <a:solidFill>
                <a:prstClr val="black"/>
              </a:solidFill>
              <a:latin typeface="EYInterstate" panose="02000503020000020004" pitchFamily="2" charset="0"/>
            </a:endParaRPr>
          </a:p>
          <a:p>
            <a:pPr defTabSz="914400">
              <a:defRPr/>
            </a:pPr>
            <a:r>
              <a:rPr lang="en-US" sz="1000">
                <a:solidFill>
                  <a:prstClr val="black"/>
                </a:solidFill>
                <a:latin typeface="EYInterstate" panose="02000503020000020004" pitchFamily="2" charset="0"/>
              </a:rPr>
              <a:t> </a:t>
            </a:r>
          </a:p>
          <a:p>
            <a:pPr defTabSz="914400">
              <a:defRPr/>
            </a:pPr>
            <a:endParaRPr lang="en-US" sz="1000">
              <a:solidFill>
                <a:prstClr val="black"/>
              </a:solidFill>
              <a:latin typeface="EYInterstate" panose="02000503020000020004" pitchFamily="2" charset="0"/>
            </a:endParaRPr>
          </a:p>
          <a:p>
            <a:pPr defTabSz="914400">
              <a:defRPr/>
            </a:pPr>
            <a:endParaRPr lang="en-US" sz="1000">
              <a:solidFill>
                <a:prstClr val="black"/>
              </a:solidFill>
              <a:latin typeface="EYInterstate" panose="02000503020000020004" pitchFamily="2" charset="0"/>
            </a:endParaRPr>
          </a:p>
          <a:p>
            <a:pPr defTabSz="914400">
              <a:defRPr/>
            </a:pPr>
            <a:endParaRPr lang="en-US" sz="1000">
              <a:solidFill>
                <a:prstClr val="black"/>
              </a:solidFill>
              <a:latin typeface="EYInterstate" panose="02000503020000020004" pitchFamily="2" charset="0"/>
            </a:endParaRPr>
          </a:p>
        </p:txBody>
      </p:sp>
      <p:sp>
        <p:nvSpPr>
          <p:cNvPr id="117" name="Right Arrow 31">
            <a:extLst>
              <a:ext uri="{FF2B5EF4-FFF2-40B4-BE49-F238E27FC236}">
                <a16:creationId xmlns:a16="http://schemas.microsoft.com/office/drawing/2014/main" id="{9E59BA74-96F8-4AF2-88F8-386D2A84DF11}"/>
              </a:ext>
            </a:extLst>
          </p:cNvPr>
          <p:cNvSpPr/>
          <p:nvPr/>
        </p:nvSpPr>
        <p:spPr>
          <a:xfrm>
            <a:off x="1025859" y="2432131"/>
            <a:ext cx="10626879" cy="256317"/>
          </a:xfrm>
          <a:prstGeom prst="rightArrow">
            <a:avLst/>
          </a:prstGeom>
          <a:solidFill>
            <a:srgbClr val="BDD7EE"/>
          </a:solidFill>
          <a:ln>
            <a:solidFill>
              <a:srgbClr val="4472C4"/>
            </a:solidFill>
          </a:ln>
        </p:spPr>
        <p:txBody>
          <a:bodyPr rtlCol="0" anchor="ctr">
            <a:noAutofit/>
          </a:bodyPr>
          <a:lstStyle/>
          <a:p>
            <a:pPr marL="182880" indent="-182880" algn="ctr" defTabSz="914400">
              <a:buClr>
                <a:srgbClr val="FFFFFF"/>
              </a:buClr>
              <a:buFont typeface="Arial" charset="0"/>
              <a:buChar char="•"/>
            </a:pPr>
            <a:endParaRPr lang="en-US" sz="2000" kern="0">
              <a:solidFill>
                <a:srgbClr val="FFFFFF"/>
              </a:solidFill>
              <a:latin typeface="+mj-lt"/>
            </a:endParaRPr>
          </a:p>
        </p:txBody>
      </p:sp>
      <p:sp>
        <p:nvSpPr>
          <p:cNvPr id="118" name="Oval 117">
            <a:extLst>
              <a:ext uri="{FF2B5EF4-FFF2-40B4-BE49-F238E27FC236}">
                <a16:creationId xmlns:a16="http://schemas.microsoft.com/office/drawing/2014/main" id="{44898254-BB30-4468-8DA7-24C0E71FBE56}"/>
              </a:ext>
            </a:extLst>
          </p:cNvPr>
          <p:cNvSpPr/>
          <p:nvPr/>
        </p:nvSpPr>
        <p:spPr>
          <a:xfrm>
            <a:off x="7434518" y="2425599"/>
            <a:ext cx="274320" cy="274320"/>
          </a:xfrm>
          <a:prstGeom prst="ellipse">
            <a:avLst/>
          </a:prstGeom>
          <a:solidFill>
            <a:srgbClr val="0070C0"/>
          </a:solidFill>
          <a:ln w="19050">
            <a:solidFill>
              <a:srgbClr val="0070C0"/>
            </a:solidFill>
          </a:ln>
        </p:spPr>
        <p:txBody>
          <a:bodyPr rtlCol="0" anchor="ctr">
            <a:noAutofit/>
          </a:bodyPr>
          <a:lstStyle/>
          <a:p>
            <a:pPr algn="ctr" defTabSz="914400">
              <a:buClr>
                <a:srgbClr val="FFFFFF"/>
              </a:buClr>
            </a:pPr>
            <a:r>
              <a:rPr lang="en-US" sz="1000" kern="0">
                <a:solidFill>
                  <a:srgbClr val="FFFFFF"/>
                </a:solidFill>
                <a:latin typeface="+mj-lt"/>
              </a:rPr>
              <a:t>3</a:t>
            </a:r>
          </a:p>
        </p:txBody>
      </p:sp>
      <p:sp>
        <p:nvSpPr>
          <p:cNvPr id="119" name="Oval 118">
            <a:extLst>
              <a:ext uri="{FF2B5EF4-FFF2-40B4-BE49-F238E27FC236}">
                <a16:creationId xmlns:a16="http://schemas.microsoft.com/office/drawing/2014/main" id="{9E2B3B37-EB3A-4BD1-A5AA-9B19DEB69F68}"/>
              </a:ext>
            </a:extLst>
          </p:cNvPr>
          <p:cNvSpPr/>
          <p:nvPr/>
        </p:nvSpPr>
        <p:spPr>
          <a:xfrm>
            <a:off x="1721604" y="2425599"/>
            <a:ext cx="274320" cy="274320"/>
          </a:xfrm>
          <a:prstGeom prst="ellipse">
            <a:avLst/>
          </a:prstGeom>
          <a:solidFill>
            <a:srgbClr val="0070C0"/>
          </a:solidFill>
          <a:ln w="19050">
            <a:solidFill>
              <a:srgbClr val="0070C0"/>
            </a:solidFill>
          </a:ln>
        </p:spPr>
        <p:txBody>
          <a:bodyPr rtlCol="0" anchor="ctr">
            <a:noAutofit/>
          </a:bodyPr>
          <a:lstStyle/>
          <a:p>
            <a:pPr algn="ctr" defTabSz="914400">
              <a:buClr>
                <a:srgbClr val="FFFFFF"/>
              </a:buClr>
            </a:pPr>
            <a:r>
              <a:rPr lang="en-US" sz="1000" kern="0">
                <a:solidFill>
                  <a:srgbClr val="FFFFFF"/>
                </a:solidFill>
                <a:latin typeface="+mj-lt"/>
              </a:rPr>
              <a:t>1</a:t>
            </a:r>
          </a:p>
        </p:txBody>
      </p:sp>
      <p:sp>
        <p:nvSpPr>
          <p:cNvPr id="120" name="Oval 119">
            <a:extLst>
              <a:ext uri="{FF2B5EF4-FFF2-40B4-BE49-F238E27FC236}">
                <a16:creationId xmlns:a16="http://schemas.microsoft.com/office/drawing/2014/main" id="{89FA9D56-DA4B-4C56-9242-E3FDEF5A24FA}"/>
              </a:ext>
            </a:extLst>
          </p:cNvPr>
          <p:cNvSpPr/>
          <p:nvPr/>
        </p:nvSpPr>
        <p:spPr>
          <a:xfrm>
            <a:off x="4405144" y="2432131"/>
            <a:ext cx="274320" cy="274320"/>
          </a:xfrm>
          <a:prstGeom prst="ellipse">
            <a:avLst/>
          </a:prstGeom>
          <a:solidFill>
            <a:srgbClr val="0070C0"/>
          </a:solidFill>
          <a:ln w="19050">
            <a:solidFill>
              <a:srgbClr val="0070C0"/>
            </a:solidFill>
          </a:ln>
        </p:spPr>
        <p:txBody>
          <a:bodyPr rtlCol="0" anchor="ctr">
            <a:noAutofit/>
          </a:bodyPr>
          <a:lstStyle/>
          <a:p>
            <a:pPr algn="ctr" defTabSz="914400">
              <a:buClr>
                <a:srgbClr val="FFFFFF"/>
              </a:buClr>
            </a:pPr>
            <a:r>
              <a:rPr lang="en-US" sz="1000" kern="0">
                <a:solidFill>
                  <a:srgbClr val="FFFFFF"/>
                </a:solidFill>
                <a:latin typeface="+mj-lt"/>
              </a:rPr>
              <a:t>2</a:t>
            </a:r>
          </a:p>
        </p:txBody>
      </p:sp>
      <p:sp>
        <p:nvSpPr>
          <p:cNvPr id="122" name="Oval 121">
            <a:extLst>
              <a:ext uri="{FF2B5EF4-FFF2-40B4-BE49-F238E27FC236}">
                <a16:creationId xmlns:a16="http://schemas.microsoft.com/office/drawing/2014/main" id="{42DBCD26-26AE-4422-831C-44EA9FAEE12E}"/>
              </a:ext>
            </a:extLst>
          </p:cNvPr>
          <p:cNvSpPr/>
          <p:nvPr/>
        </p:nvSpPr>
        <p:spPr>
          <a:xfrm>
            <a:off x="10651454" y="2423129"/>
            <a:ext cx="274320" cy="274320"/>
          </a:xfrm>
          <a:prstGeom prst="ellipse">
            <a:avLst/>
          </a:prstGeom>
          <a:solidFill>
            <a:srgbClr val="0070C0"/>
          </a:solidFill>
          <a:ln w="19050">
            <a:solidFill>
              <a:srgbClr val="0070C0"/>
            </a:solidFill>
          </a:ln>
        </p:spPr>
        <p:txBody>
          <a:bodyPr rtlCol="0" anchor="ctr">
            <a:noAutofit/>
          </a:bodyPr>
          <a:lstStyle/>
          <a:p>
            <a:pPr algn="ctr" defTabSz="914400">
              <a:buClr>
                <a:srgbClr val="FFFFFF"/>
              </a:buClr>
            </a:pPr>
            <a:r>
              <a:rPr lang="en-US" sz="1000" kern="0">
                <a:solidFill>
                  <a:srgbClr val="FFFFFF"/>
                </a:solidFill>
                <a:latin typeface="+mj-lt"/>
              </a:rPr>
              <a:t>4</a:t>
            </a:r>
          </a:p>
        </p:txBody>
      </p:sp>
      <p:cxnSp>
        <p:nvCxnSpPr>
          <p:cNvPr id="123" name="Straight Arrow Connector 122">
            <a:extLst>
              <a:ext uri="{FF2B5EF4-FFF2-40B4-BE49-F238E27FC236}">
                <a16:creationId xmlns:a16="http://schemas.microsoft.com/office/drawing/2014/main" id="{886D0E46-1718-4AD2-9879-A5C4693996EE}"/>
              </a:ext>
            </a:extLst>
          </p:cNvPr>
          <p:cNvCxnSpPr/>
          <p:nvPr/>
        </p:nvCxnSpPr>
        <p:spPr>
          <a:xfrm>
            <a:off x="3117079" y="1993290"/>
            <a:ext cx="182880" cy="1"/>
          </a:xfrm>
          <a:prstGeom prst="straightConnector1">
            <a:avLst/>
          </a:prstGeom>
          <a:noFill/>
          <a:ln w="6350" cap="flat" cmpd="sng" algn="ctr">
            <a:solidFill>
              <a:srgbClr val="2E3238"/>
            </a:solidFill>
            <a:prstDash val="sysDash"/>
            <a:miter lim="800000"/>
            <a:tailEnd type="triangle"/>
          </a:ln>
          <a:effectLst/>
        </p:spPr>
      </p:cxnSp>
      <p:cxnSp>
        <p:nvCxnSpPr>
          <p:cNvPr id="129" name="Straight Arrow Connector 128">
            <a:extLst>
              <a:ext uri="{FF2B5EF4-FFF2-40B4-BE49-F238E27FC236}">
                <a16:creationId xmlns:a16="http://schemas.microsoft.com/office/drawing/2014/main" id="{4E6E0D6E-A9EA-4467-B5E6-4152F3932A8D}"/>
              </a:ext>
            </a:extLst>
          </p:cNvPr>
          <p:cNvCxnSpPr/>
          <p:nvPr/>
        </p:nvCxnSpPr>
        <p:spPr>
          <a:xfrm>
            <a:off x="5904852" y="1987960"/>
            <a:ext cx="182880" cy="1"/>
          </a:xfrm>
          <a:prstGeom prst="straightConnector1">
            <a:avLst/>
          </a:prstGeom>
          <a:noFill/>
          <a:ln w="6350" cap="flat" cmpd="sng" algn="ctr">
            <a:solidFill>
              <a:srgbClr val="2E3238"/>
            </a:solidFill>
            <a:prstDash val="sysDash"/>
            <a:miter lim="800000"/>
            <a:tailEnd type="triangle"/>
          </a:ln>
          <a:effectLst/>
        </p:spPr>
      </p:cxnSp>
      <p:cxnSp>
        <p:nvCxnSpPr>
          <p:cNvPr id="130" name="Straight Arrow Connector 129">
            <a:extLst>
              <a:ext uri="{FF2B5EF4-FFF2-40B4-BE49-F238E27FC236}">
                <a16:creationId xmlns:a16="http://schemas.microsoft.com/office/drawing/2014/main" id="{1F19AC25-3327-44CA-A437-20360CC504DB}"/>
              </a:ext>
            </a:extLst>
          </p:cNvPr>
          <p:cNvCxnSpPr/>
          <p:nvPr/>
        </p:nvCxnSpPr>
        <p:spPr>
          <a:xfrm>
            <a:off x="9144410" y="1987960"/>
            <a:ext cx="182880" cy="1"/>
          </a:xfrm>
          <a:prstGeom prst="straightConnector1">
            <a:avLst/>
          </a:prstGeom>
          <a:noFill/>
          <a:ln w="6350" cap="flat" cmpd="sng" algn="ctr">
            <a:solidFill>
              <a:srgbClr val="2E3238"/>
            </a:solidFill>
            <a:prstDash val="sysDash"/>
            <a:miter lim="800000"/>
            <a:tailEnd type="triangle"/>
          </a:ln>
          <a:effectLst/>
        </p:spPr>
      </p:cxnSp>
      <p:pic>
        <p:nvPicPr>
          <p:cNvPr id="4" name="Graphic 3" descr="Computer">
            <a:extLst>
              <a:ext uri="{FF2B5EF4-FFF2-40B4-BE49-F238E27FC236}">
                <a16:creationId xmlns:a16="http://schemas.microsoft.com/office/drawing/2014/main" id="{423E82EB-C5E4-4978-B6E3-FF527DEFD9D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98461" y="1483109"/>
            <a:ext cx="914400" cy="914400"/>
          </a:xfrm>
          <a:prstGeom prst="rect">
            <a:avLst/>
          </a:prstGeom>
        </p:spPr>
      </p:pic>
      <p:pic>
        <p:nvPicPr>
          <p:cNvPr id="11" name="Graphic 10" descr="Pencil">
            <a:extLst>
              <a:ext uri="{FF2B5EF4-FFF2-40B4-BE49-F238E27FC236}">
                <a16:creationId xmlns:a16="http://schemas.microsoft.com/office/drawing/2014/main" id="{CD5801B6-13AA-4FD8-B45B-74658BB73C7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27519" y="1649459"/>
            <a:ext cx="671591" cy="671591"/>
          </a:xfrm>
          <a:prstGeom prst="rect">
            <a:avLst/>
          </a:prstGeom>
        </p:spPr>
      </p:pic>
      <p:sp>
        <p:nvSpPr>
          <p:cNvPr id="21" name="TextBox 20">
            <a:extLst>
              <a:ext uri="{FF2B5EF4-FFF2-40B4-BE49-F238E27FC236}">
                <a16:creationId xmlns:a16="http://schemas.microsoft.com/office/drawing/2014/main" id="{3D133CF7-6C25-43DE-8B16-7A07A82B1BDD}"/>
              </a:ext>
            </a:extLst>
          </p:cNvPr>
          <p:cNvSpPr txBox="1"/>
          <p:nvPr/>
        </p:nvSpPr>
        <p:spPr>
          <a:xfrm>
            <a:off x="986981" y="2831239"/>
            <a:ext cx="1737360" cy="2246769"/>
          </a:xfrm>
          <a:prstGeom prst="rect">
            <a:avLst/>
          </a:prstGeom>
          <a:noFill/>
        </p:spPr>
        <p:txBody>
          <a:bodyPr wrap="square" lIns="0" tIns="45720" rIns="0" bIns="45720" rtlCol="0" anchor="t">
            <a:spAutoFit/>
          </a:bodyPr>
          <a:lstStyle/>
          <a:p>
            <a:pPr lvl="0">
              <a:defRPr/>
            </a:pPr>
            <a:r>
              <a:rPr lang="en-US" sz="1400">
                <a:latin typeface="EYInterstate" panose="02000503020000020004" pitchFamily="2" charset="0"/>
              </a:rPr>
              <a:t>Register and log onto the ServiceNow portal </a:t>
            </a:r>
            <a:r>
              <a:rPr lang="en-US" sz="1400">
                <a:latin typeface="EYInterstate" panose="02000503020000020004" pitchFamily="2" charset="0"/>
                <a:hlinkClick r:id="rId6"/>
              </a:rPr>
              <a:t>here</a:t>
            </a:r>
            <a:r>
              <a:rPr lang="en-US" sz="1400">
                <a:latin typeface="EYInterstate" panose="02000503020000020004" pitchFamily="2" charset="0"/>
              </a:rPr>
              <a:t>.</a:t>
            </a:r>
          </a:p>
          <a:p>
            <a:pPr lvl="0">
              <a:defRPr/>
            </a:pPr>
            <a:endParaRPr lang="en-US" sz="1400">
              <a:latin typeface="EYInterstate" panose="02000503020000020004" pitchFamily="2" charset="0"/>
            </a:endParaRPr>
          </a:p>
          <a:p>
            <a:pPr lvl="0">
              <a:defRPr/>
            </a:pPr>
            <a:r>
              <a:rPr lang="en-US" sz="1400">
                <a:latin typeface="EYInterstate" panose="02000503020000020004" pitchFamily="2" charset="0"/>
              </a:rPr>
              <a:t>Initiate an HCP Onboarding and/or Recipient Bulk Upload by submitting the appropriate form(s).</a:t>
            </a:r>
          </a:p>
        </p:txBody>
      </p:sp>
      <p:sp>
        <p:nvSpPr>
          <p:cNvPr id="24" name="TextBox 23">
            <a:extLst>
              <a:ext uri="{FF2B5EF4-FFF2-40B4-BE49-F238E27FC236}">
                <a16:creationId xmlns:a16="http://schemas.microsoft.com/office/drawing/2014/main" id="{0C805F0D-28F9-44A6-8727-DB46BB94FE05}"/>
              </a:ext>
            </a:extLst>
          </p:cNvPr>
          <p:cNvSpPr txBox="1"/>
          <p:nvPr/>
        </p:nvSpPr>
        <p:spPr>
          <a:xfrm>
            <a:off x="3673624" y="2822254"/>
            <a:ext cx="1737360" cy="2893100"/>
          </a:xfrm>
          <a:prstGeom prst="rect">
            <a:avLst/>
          </a:prstGeom>
          <a:noFill/>
        </p:spPr>
        <p:txBody>
          <a:bodyPr wrap="square" lIns="0" tIns="45720" rIns="0" bIns="45720" rtlCol="0" anchor="t">
            <a:spAutoFit/>
          </a:bodyPr>
          <a:lstStyle/>
          <a:p>
            <a:pPr fontAlgn="base"/>
            <a:r>
              <a:rPr lang="en-US" sz="1400">
                <a:latin typeface="EYInterstate" panose="02000503020000020004" pitchFamily="2" charset="0"/>
              </a:rPr>
              <a:t>When your ticket is submitted, it is sent to a Helpdesk Agent trained to assist you.​</a:t>
            </a:r>
          </a:p>
          <a:p>
            <a:pPr fontAlgn="base"/>
            <a:r>
              <a:rPr lang="en-US" sz="1400">
                <a:latin typeface="EYInterstate" panose="02000503020000020004" pitchFamily="2" charset="0"/>
              </a:rPr>
              <a:t>​</a:t>
            </a:r>
          </a:p>
          <a:p>
            <a:pPr fontAlgn="base"/>
            <a:r>
              <a:rPr lang="en-US" sz="1400">
                <a:latin typeface="EYInterstate" panose="02000503020000020004" pitchFamily="2" charset="0"/>
              </a:rPr>
              <a:t>The Agent will assess your form(s) and determine if all the necessary information is included and formatted correctly.</a:t>
            </a:r>
          </a:p>
        </p:txBody>
      </p:sp>
      <p:sp>
        <p:nvSpPr>
          <p:cNvPr id="25" name="TextBox 24">
            <a:extLst>
              <a:ext uri="{FF2B5EF4-FFF2-40B4-BE49-F238E27FC236}">
                <a16:creationId xmlns:a16="http://schemas.microsoft.com/office/drawing/2014/main" id="{6227318E-3AE6-468E-9E55-350B0DB33695}"/>
              </a:ext>
            </a:extLst>
          </p:cNvPr>
          <p:cNvSpPr txBox="1"/>
          <p:nvPr/>
        </p:nvSpPr>
        <p:spPr>
          <a:xfrm>
            <a:off x="5758206" y="2831355"/>
            <a:ext cx="3792414" cy="3970318"/>
          </a:xfrm>
          <a:prstGeom prst="rect">
            <a:avLst/>
          </a:prstGeom>
          <a:noFill/>
        </p:spPr>
        <p:txBody>
          <a:bodyPr wrap="square" lIns="0" tIns="45720" rIns="0" bIns="45720" rtlCol="0" anchor="t">
            <a:spAutoFit/>
          </a:bodyPr>
          <a:lstStyle/>
          <a:p>
            <a:r>
              <a:rPr lang="en-US" sz="1400">
                <a:latin typeface="EYInterstate" panose="02000503020000020004" pitchFamily="2" charset="0"/>
                <a:cs typeface="Calibri"/>
              </a:rPr>
              <a:t>If the information is complete and accurate, the desired response times are as follows:</a:t>
            </a:r>
          </a:p>
          <a:p>
            <a:endParaRPr lang="en-US" sz="1400">
              <a:latin typeface="EYInterstate" panose="02000503020000020004" pitchFamily="2" charset="0"/>
              <a:cs typeface="Calibri"/>
            </a:endParaRPr>
          </a:p>
          <a:p>
            <a:r>
              <a:rPr lang="en-US" sz="1400">
                <a:latin typeface="EYInterstate" panose="02000503020000020004" pitchFamily="2" charset="0"/>
                <a:cs typeface="Calibri"/>
              </a:rPr>
              <a:t>For HCP Onboarding, the Agent should have your Providers provisioned for CVMS HCP Portal access within 2-3 days.</a:t>
            </a:r>
          </a:p>
          <a:p>
            <a:endParaRPr lang="en-US" sz="1400">
              <a:latin typeface="EYInterstate" panose="02000503020000020004" pitchFamily="2" charset="0"/>
              <a:cs typeface="Calibri"/>
            </a:endParaRPr>
          </a:p>
          <a:p>
            <a:r>
              <a:rPr lang="en-US" sz="1400">
                <a:latin typeface="EYInterstate" panose="02000503020000020004" pitchFamily="2" charset="0"/>
                <a:cs typeface="Calibri"/>
              </a:rPr>
              <a:t>For Recipient Bulk Upload, the Agent should have your Recipients account created for CVMS Recipient Portal access within 48 hours. </a:t>
            </a:r>
          </a:p>
          <a:p>
            <a:endParaRPr lang="en-US" sz="1400">
              <a:latin typeface="EYInterstate" panose="02000503020000020004" pitchFamily="2" charset="0"/>
              <a:cs typeface="Calibri"/>
            </a:endParaRPr>
          </a:p>
          <a:p>
            <a:r>
              <a:rPr lang="en-US" sz="1400">
                <a:latin typeface="EYInterstate" panose="02000503020000020004" pitchFamily="2" charset="0"/>
                <a:cs typeface="Calibri"/>
              </a:rPr>
              <a:t>Note: if you have not heard back within the desired time-frame, please log-in to your ServiceNow account and check the status of the ticket. We apologize for any response delays and are doing our best to respond to requestors as soon as possible!</a:t>
            </a:r>
          </a:p>
        </p:txBody>
      </p:sp>
      <p:sp>
        <p:nvSpPr>
          <p:cNvPr id="27" name="TextBox 26">
            <a:extLst>
              <a:ext uri="{FF2B5EF4-FFF2-40B4-BE49-F238E27FC236}">
                <a16:creationId xmlns:a16="http://schemas.microsoft.com/office/drawing/2014/main" id="{C24F804B-AE48-4EE4-AE60-79EF315B1F8E}"/>
              </a:ext>
            </a:extLst>
          </p:cNvPr>
          <p:cNvSpPr txBox="1"/>
          <p:nvPr/>
        </p:nvSpPr>
        <p:spPr>
          <a:xfrm>
            <a:off x="9897843" y="2808287"/>
            <a:ext cx="1948712" cy="4185761"/>
          </a:xfrm>
          <a:prstGeom prst="rect">
            <a:avLst/>
          </a:prstGeom>
          <a:noFill/>
        </p:spPr>
        <p:txBody>
          <a:bodyPr wrap="square" lIns="0" tIns="45720" rIns="0" bIns="45720" rtlCol="0" anchor="t">
            <a:spAutoFit/>
          </a:bodyPr>
          <a:lstStyle/>
          <a:p>
            <a:r>
              <a:rPr lang="en-US" sz="1400">
                <a:latin typeface="EYInterstate" panose="02000503020000020004" pitchFamily="2" charset="0"/>
                <a:cs typeface="Calibri"/>
              </a:rPr>
              <a:t>Information on how to </a:t>
            </a:r>
            <a:r>
              <a:rPr lang="en-US" sz="1400">
                <a:latin typeface="EYInterstate" panose="02000503020000020004" pitchFamily="2" charset="0"/>
              </a:rPr>
              <a:t>correct and re-upload the Recipient Bulk Upload template can be found </a:t>
            </a:r>
            <a:r>
              <a:rPr lang="en-US" sz="1400" u="sng">
                <a:latin typeface="EYInterstate" panose="02000503020000020004" pitchFamily="2" charset="0"/>
                <a:hlinkClick r:id="rId7"/>
              </a:rPr>
              <a:t>here</a:t>
            </a:r>
            <a:r>
              <a:rPr lang="en-US" sz="1400" u="sng">
                <a:latin typeface="EYInterstate" panose="02000503020000020004" pitchFamily="2" charset="0"/>
              </a:rPr>
              <a:t> </a:t>
            </a:r>
            <a:r>
              <a:rPr lang="en-US" sz="1400">
                <a:latin typeface="EYInterstate" panose="02000503020000020004" pitchFamily="2" charset="0"/>
              </a:rPr>
              <a:t>(Pages 18-23). </a:t>
            </a:r>
          </a:p>
          <a:p>
            <a:endParaRPr lang="en-US" sz="1400">
              <a:latin typeface="EYInterstate" panose="02000503020000020004" pitchFamily="2" charset="0"/>
              <a:cs typeface="Calibri"/>
            </a:endParaRPr>
          </a:p>
          <a:p>
            <a:r>
              <a:rPr lang="en-US" sz="1400">
                <a:latin typeface="EYInterstate" panose="02000503020000020004" pitchFamily="2" charset="0"/>
                <a:cs typeface="Calibri"/>
              </a:rPr>
              <a:t>If additional corrections/updates are needed, please submit a ticket via the </a:t>
            </a:r>
            <a:r>
              <a:rPr lang="en-US" sz="1400">
                <a:latin typeface="EYInterstate" panose="02000503020000020004" pitchFamily="2" charset="0"/>
                <a:hlinkClick r:id="rId6"/>
              </a:rPr>
              <a:t>CVMS Helpdesk</a:t>
            </a:r>
            <a:r>
              <a:rPr lang="en-US" sz="1400">
                <a:latin typeface="EYInterstate" panose="02000503020000020004" pitchFamily="2" charset="0"/>
              </a:rPr>
              <a:t> with the needed corrections included.</a:t>
            </a:r>
          </a:p>
          <a:p>
            <a:endParaRPr lang="en-US" sz="1400">
              <a:latin typeface="EYInterstate" panose="02000503020000020004" pitchFamily="2" charset="0"/>
            </a:endParaRPr>
          </a:p>
          <a:p>
            <a:r>
              <a:rPr lang="en-US" sz="1400">
                <a:latin typeface="EYInterstate" panose="02000503020000020004" pitchFamily="2" charset="0"/>
              </a:rPr>
              <a:t>You will receive an email when the process is complete.</a:t>
            </a:r>
          </a:p>
          <a:p>
            <a:endParaRPr lang="en-US" sz="1400">
              <a:latin typeface="EYInterstate" panose="02000503020000020004" pitchFamily="2" charset="0"/>
            </a:endParaRPr>
          </a:p>
        </p:txBody>
      </p:sp>
      <p:pic>
        <p:nvPicPr>
          <p:cNvPr id="12" name="Graphic 11" descr="Call center">
            <a:extLst>
              <a:ext uri="{FF2B5EF4-FFF2-40B4-BE49-F238E27FC236}">
                <a16:creationId xmlns:a16="http://schemas.microsoft.com/office/drawing/2014/main" id="{85286183-3B77-4D7F-9821-6B55F797F58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104177" y="1519443"/>
            <a:ext cx="829702" cy="829702"/>
          </a:xfrm>
          <a:prstGeom prst="rect">
            <a:avLst/>
          </a:prstGeom>
        </p:spPr>
      </p:pic>
      <p:pic>
        <p:nvPicPr>
          <p:cNvPr id="14" name="Graphic 13" descr="Stopwatch">
            <a:extLst>
              <a:ext uri="{FF2B5EF4-FFF2-40B4-BE49-F238E27FC236}">
                <a16:creationId xmlns:a16="http://schemas.microsoft.com/office/drawing/2014/main" id="{81E40366-7463-40BA-8E2D-299A81D8B3D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190937" y="1568632"/>
            <a:ext cx="761482" cy="761482"/>
          </a:xfrm>
          <a:prstGeom prst="rect">
            <a:avLst/>
          </a:prstGeom>
        </p:spPr>
      </p:pic>
    </p:spTree>
    <p:extLst>
      <p:ext uri="{BB962C8B-B14F-4D97-AF65-F5344CB8AC3E}">
        <p14:creationId xmlns:p14="http://schemas.microsoft.com/office/powerpoint/2010/main" val="17894057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75101" y="11125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a:ln w="0">
                  <a:noFill/>
                </a:ln>
                <a:solidFill>
                  <a:srgbClr val="000000"/>
                </a:solidFill>
                <a:effectLst/>
                <a:uLnTx/>
                <a:uFillTx/>
                <a:latin typeface="EYInterstate" panose="02000503020000020004" pitchFamily="2" charset="0"/>
                <a:ea typeface="+mj-ea"/>
                <a:cs typeface="Arial" panose="020B0604020202020204" pitchFamily="34" charset="0"/>
              </a:rPr>
              <a:t>Key Terms</a:t>
            </a:r>
          </a:p>
        </p:txBody>
      </p:sp>
      <p:cxnSp>
        <p:nvCxnSpPr>
          <p:cNvPr id="9" name="Straight Arrow Connector 8">
            <a:extLst>
              <a:ext uri="{FF2B5EF4-FFF2-40B4-BE49-F238E27FC236}">
                <a16:creationId xmlns:a16="http://schemas.microsoft.com/office/drawing/2014/main" id="{CE0EA485-49A3-4D08-AC46-48F0A11D58BA}"/>
              </a:ext>
            </a:extLst>
          </p:cNvPr>
          <p:cNvCxnSpPr>
            <a:cxnSpLocks/>
          </p:cNvCxnSpPr>
          <p:nvPr/>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cxnSp>
        <p:nvCxnSpPr>
          <p:cNvPr id="96" name="Straight Connector 95">
            <a:extLst>
              <a:ext uri="{FF2B5EF4-FFF2-40B4-BE49-F238E27FC236}">
                <a16:creationId xmlns:a16="http://schemas.microsoft.com/office/drawing/2014/main" id="{BE7EC605-5A7D-4396-A367-DB434D541FE6}"/>
              </a:ext>
            </a:extLst>
          </p:cNvPr>
          <p:cNvCxnSpPr>
            <a:cxnSpLocks/>
            <a:stCxn id="111" idx="2"/>
            <a:endCxn id="23" idx="0"/>
          </p:cNvCxnSpPr>
          <p:nvPr/>
        </p:nvCxnSpPr>
        <p:spPr>
          <a:xfrm>
            <a:off x="988226" y="1799444"/>
            <a:ext cx="0" cy="3320747"/>
          </a:xfrm>
          <a:prstGeom prst="line">
            <a:avLst/>
          </a:prstGeom>
          <a:noFill/>
          <a:ln w="28575" cap="flat" cmpd="sng" algn="ctr">
            <a:solidFill>
              <a:srgbClr val="0070C0"/>
            </a:solidFill>
            <a:prstDash val="solid"/>
            <a:tailEnd type="none"/>
          </a:ln>
          <a:effectLst/>
        </p:spPr>
      </p:cxnSp>
      <p:grpSp>
        <p:nvGrpSpPr>
          <p:cNvPr id="11" name="Group 10">
            <a:extLst>
              <a:ext uri="{FF2B5EF4-FFF2-40B4-BE49-F238E27FC236}">
                <a16:creationId xmlns:a16="http://schemas.microsoft.com/office/drawing/2014/main" id="{44145D21-7409-4FE3-9974-111367F37DC5}"/>
              </a:ext>
            </a:extLst>
          </p:cNvPr>
          <p:cNvGrpSpPr/>
          <p:nvPr/>
        </p:nvGrpSpPr>
        <p:grpSpPr>
          <a:xfrm>
            <a:off x="299922" y="1248678"/>
            <a:ext cx="11673993" cy="550766"/>
            <a:chOff x="299922" y="1230410"/>
            <a:chExt cx="11673993" cy="550766"/>
          </a:xfrm>
        </p:grpSpPr>
        <p:sp>
          <p:nvSpPr>
            <p:cNvPr id="111" name="Rectangle: Rounded Corners 110">
              <a:extLst>
                <a:ext uri="{FF2B5EF4-FFF2-40B4-BE49-F238E27FC236}">
                  <a16:creationId xmlns:a16="http://schemas.microsoft.com/office/drawing/2014/main" id="{42F95F95-EFE2-4B67-B4E1-A7D281B2179C}"/>
                </a:ext>
              </a:extLst>
            </p:cNvPr>
            <p:cNvSpPr/>
            <p:nvPr/>
          </p:nvSpPr>
          <p:spPr>
            <a:xfrm>
              <a:off x="299922" y="1239170"/>
              <a:ext cx="1376607" cy="542006"/>
            </a:xfrm>
            <a:prstGeom prst="roundRect">
              <a:avLst/>
            </a:prstGeom>
            <a:solidFill>
              <a:srgbClr val="FFFFFF">
                <a:lumMod val="95000"/>
              </a:srgbClr>
            </a:solidFill>
            <a:ln w="9525" cap="flat" cmpd="sng" algn="ctr">
              <a:noFill/>
              <a:prstDash val="solid"/>
            </a:ln>
            <a:effectLst/>
          </p:spPr>
          <p:txBody>
            <a:bodyPr rtlCol="0" anchor="ctr"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1" kern="0">
                  <a:solidFill>
                    <a:srgbClr val="000000"/>
                  </a:solidFill>
                  <a:latin typeface="EYInterstate" panose="02000503020000020004" pitchFamily="2" charset="0"/>
                </a:rPr>
                <a:t>HCP</a:t>
              </a:r>
              <a:endParaRPr kumimoji="0" lang="en-US" sz="1200" b="1" i="0" u="none" strike="noStrike" kern="0" cap="none" spc="0" normalizeH="0" baseline="0" noProof="0">
                <a:ln>
                  <a:noFill/>
                </a:ln>
                <a:solidFill>
                  <a:srgbClr val="000000"/>
                </a:solidFill>
                <a:effectLst/>
                <a:uLnTx/>
                <a:uFillTx/>
                <a:latin typeface="EYInterstate" panose="02000503020000020004" pitchFamily="2" charset="0"/>
                <a:ea typeface="+mn-ea"/>
                <a:cs typeface="+mn-cs"/>
              </a:endParaRPr>
            </a:p>
          </p:txBody>
        </p:sp>
        <p:grpSp>
          <p:nvGrpSpPr>
            <p:cNvPr id="121" name="Group 120">
              <a:extLst>
                <a:ext uri="{FF2B5EF4-FFF2-40B4-BE49-F238E27FC236}">
                  <a16:creationId xmlns:a16="http://schemas.microsoft.com/office/drawing/2014/main" id="{B799FF1D-8077-4A86-BF14-C02C996C8717}"/>
                </a:ext>
              </a:extLst>
            </p:cNvPr>
            <p:cNvGrpSpPr/>
            <p:nvPr/>
          </p:nvGrpSpPr>
          <p:grpSpPr>
            <a:xfrm>
              <a:off x="1883616" y="1230410"/>
              <a:ext cx="10090299" cy="545186"/>
              <a:chOff x="1720701" y="1315151"/>
              <a:chExt cx="10090299" cy="545186"/>
            </a:xfrm>
          </p:grpSpPr>
          <p:sp>
            <p:nvSpPr>
              <p:cNvPr id="122" name="Rectangle 121">
                <a:extLst>
                  <a:ext uri="{FF2B5EF4-FFF2-40B4-BE49-F238E27FC236}">
                    <a16:creationId xmlns:a16="http://schemas.microsoft.com/office/drawing/2014/main" id="{AA38086E-FCBD-403B-A50F-078C75E0E87E}"/>
                  </a:ext>
                </a:extLst>
              </p:cNvPr>
              <p:cNvSpPr/>
              <p:nvPr/>
            </p:nvSpPr>
            <p:spPr>
              <a:xfrm>
                <a:off x="1720701" y="1315151"/>
                <a:ext cx="10090299" cy="545186"/>
              </a:xfrm>
              <a:prstGeom prst="rect">
                <a:avLst/>
              </a:prstGeom>
              <a:solidFill>
                <a:srgbClr val="EAEAEA"/>
              </a:solidFill>
              <a:ln w="12700" cap="flat" cmpd="sng" algn="ctr">
                <a:solidFill>
                  <a:srgbClr val="EAEAEA"/>
                </a:solidFill>
                <a:prstDash val="solid"/>
                <a:miter lim="800000"/>
              </a:ln>
              <a:effectLst/>
            </p:spPr>
            <p:txBody>
              <a:bodyPr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123" name="Rectangle 122">
                <a:extLst>
                  <a:ext uri="{FF2B5EF4-FFF2-40B4-BE49-F238E27FC236}">
                    <a16:creationId xmlns:a16="http://schemas.microsoft.com/office/drawing/2014/main" id="{01016452-DFF5-49DD-8809-5155B0959C35}"/>
                  </a:ext>
                </a:extLst>
              </p:cNvPr>
              <p:cNvSpPr/>
              <p:nvPr/>
            </p:nvSpPr>
            <p:spPr>
              <a:xfrm>
                <a:off x="1777957" y="1469752"/>
                <a:ext cx="9919478"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rgbClr val="000000"/>
                    </a:solidFill>
                    <a:latin typeface="EYInterstate" panose="02000503020000020004" pitchFamily="2" charset="0"/>
                  </a:rPr>
                  <a:t>Healthcare Providers. Refers to the clinical personnel who will be registered in CVMS to administer vaccinations. </a:t>
                </a:r>
                <a:endParaRPr kumimoji="0" lang="en-US" sz="1400" b="0" i="0" u="none" strike="noStrike" kern="0" cap="none" spc="0" normalizeH="0" baseline="0" noProof="0">
                  <a:ln>
                    <a:noFill/>
                  </a:ln>
                  <a:solidFill>
                    <a:prstClr val="black"/>
                  </a:solidFill>
                  <a:effectLst/>
                  <a:uLnTx/>
                  <a:uFillTx/>
                  <a:latin typeface="EYInterstate" panose="02000503020000020004" pitchFamily="2" charset="0"/>
                  <a:ea typeface="+mn-ea"/>
                  <a:cs typeface="Arial" panose="020B0604020202020204" pitchFamily="34" charset="0"/>
                </a:endParaRPr>
              </a:p>
            </p:txBody>
          </p:sp>
        </p:grpSp>
      </p:grpSp>
      <p:grpSp>
        <p:nvGrpSpPr>
          <p:cNvPr id="4" name="Group 3">
            <a:extLst>
              <a:ext uri="{FF2B5EF4-FFF2-40B4-BE49-F238E27FC236}">
                <a16:creationId xmlns:a16="http://schemas.microsoft.com/office/drawing/2014/main" id="{C81ED768-D65B-4A82-BB05-CB1B56452102}"/>
              </a:ext>
            </a:extLst>
          </p:cNvPr>
          <p:cNvGrpSpPr/>
          <p:nvPr/>
        </p:nvGrpSpPr>
        <p:grpSpPr>
          <a:xfrm>
            <a:off x="299922" y="2194698"/>
            <a:ext cx="11673993" cy="551883"/>
            <a:chOff x="299922" y="1945783"/>
            <a:chExt cx="11673993" cy="551883"/>
          </a:xfrm>
        </p:grpSpPr>
        <p:sp>
          <p:nvSpPr>
            <p:cNvPr id="125" name="Rectangle: Rounded Corners 124">
              <a:extLst>
                <a:ext uri="{FF2B5EF4-FFF2-40B4-BE49-F238E27FC236}">
                  <a16:creationId xmlns:a16="http://schemas.microsoft.com/office/drawing/2014/main" id="{2296636B-20F6-4D0D-8B9D-D398FF1A31E8}"/>
                </a:ext>
              </a:extLst>
            </p:cNvPr>
            <p:cNvSpPr/>
            <p:nvPr/>
          </p:nvSpPr>
          <p:spPr>
            <a:xfrm>
              <a:off x="299922" y="1955660"/>
              <a:ext cx="1376607" cy="542006"/>
            </a:xfrm>
            <a:prstGeom prst="roundRect">
              <a:avLst/>
            </a:prstGeom>
            <a:solidFill>
              <a:srgbClr val="FFFFFF">
                <a:lumMod val="95000"/>
              </a:srgbClr>
            </a:solidFill>
            <a:ln w="9525" cap="flat" cmpd="sng" algn="ctr">
              <a:noFill/>
              <a:prstDash val="solid"/>
            </a:ln>
            <a:effectLst/>
          </p:spPr>
          <p:txBody>
            <a:bodyPr rtlCol="0" anchor="ctr"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EYInterstate" panose="02000503020000020004" pitchFamily="2" charset="0"/>
                  <a:ea typeface="+mn-ea"/>
                  <a:cs typeface="+mn-cs"/>
                </a:rPr>
                <a:t>Recipient Bulk Upload</a:t>
              </a:r>
            </a:p>
          </p:txBody>
        </p:sp>
        <p:grpSp>
          <p:nvGrpSpPr>
            <p:cNvPr id="134" name="Group 133">
              <a:extLst>
                <a:ext uri="{FF2B5EF4-FFF2-40B4-BE49-F238E27FC236}">
                  <a16:creationId xmlns:a16="http://schemas.microsoft.com/office/drawing/2014/main" id="{335B7B84-37C2-4D53-9034-8360485F2E26}"/>
                </a:ext>
              </a:extLst>
            </p:cNvPr>
            <p:cNvGrpSpPr/>
            <p:nvPr/>
          </p:nvGrpSpPr>
          <p:grpSpPr>
            <a:xfrm>
              <a:off x="1883616" y="1945783"/>
              <a:ext cx="10090299" cy="545186"/>
              <a:chOff x="1720701" y="1315151"/>
              <a:chExt cx="10090299" cy="545186"/>
            </a:xfrm>
          </p:grpSpPr>
          <p:sp>
            <p:nvSpPr>
              <p:cNvPr id="135" name="Rectangle 134">
                <a:extLst>
                  <a:ext uri="{FF2B5EF4-FFF2-40B4-BE49-F238E27FC236}">
                    <a16:creationId xmlns:a16="http://schemas.microsoft.com/office/drawing/2014/main" id="{A3DE2B0D-6FDE-48A3-9C31-EF8637240F67}"/>
                  </a:ext>
                </a:extLst>
              </p:cNvPr>
              <p:cNvSpPr/>
              <p:nvPr/>
            </p:nvSpPr>
            <p:spPr>
              <a:xfrm>
                <a:off x="1720701" y="1315151"/>
                <a:ext cx="10090299" cy="545186"/>
              </a:xfrm>
              <a:prstGeom prst="rect">
                <a:avLst/>
              </a:prstGeom>
              <a:solidFill>
                <a:srgbClr val="EAEAEA"/>
              </a:solidFill>
              <a:ln w="12700" cap="flat" cmpd="sng" algn="ctr">
                <a:solidFill>
                  <a:srgbClr val="EAEAEA"/>
                </a:solidFill>
                <a:prstDash val="solid"/>
                <a:miter lim="800000"/>
              </a:ln>
              <a:effectLst/>
            </p:spPr>
            <p:txBody>
              <a:bodyPr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136" name="Rectangle 135">
                <a:extLst>
                  <a:ext uri="{FF2B5EF4-FFF2-40B4-BE49-F238E27FC236}">
                    <a16:creationId xmlns:a16="http://schemas.microsoft.com/office/drawing/2014/main" id="{C43569DC-468C-494C-91E0-30003EB3706A}"/>
                  </a:ext>
                </a:extLst>
              </p:cNvPr>
              <p:cNvSpPr/>
              <p:nvPr/>
            </p:nvSpPr>
            <p:spPr>
              <a:xfrm>
                <a:off x="1742943" y="1325028"/>
                <a:ext cx="9919478"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EYInterstate" panose="02000503020000020004" pitchFamily="2" charset="0"/>
                    <a:ea typeface="+mn-ea"/>
                    <a:cs typeface="Arial" panose="020B0604020202020204" pitchFamily="34" charset="0"/>
                  </a:rPr>
                  <a:t>The process of uploading the names of many vaccine recipients at one time through the ServiceNow portal. This will be done if there are individuals you employ and/or are under your purview who need to be vaccinated.</a:t>
                </a:r>
                <a:endParaRPr kumimoji="0" lang="en-US" sz="1400" b="0" i="0" u="none" strike="noStrike" kern="0" cap="none" spc="0" normalizeH="0" baseline="0" noProof="0">
                  <a:ln>
                    <a:noFill/>
                  </a:ln>
                  <a:solidFill>
                    <a:prstClr val="black"/>
                  </a:solidFill>
                  <a:effectLst/>
                  <a:uLnTx/>
                  <a:uFillTx/>
                  <a:latin typeface="EYInterstate" panose="02000503020000020004" pitchFamily="2" charset="0"/>
                  <a:ea typeface="+mn-ea"/>
                  <a:cs typeface="Arial" panose="020B0604020202020204" pitchFamily="34" charset="0"/>
                </a:endParaRPr>
              </a:p>
            </p:txBody>
          </p:sp>
        </p:grpSp>
      </p:grpSp>
      <p:grpSp>
        <p:nvGrpSpPr>
          <p:cNvPr id="6" name="Group 5">
            <a:extLst>
              <a:ext uri="{FF2B5EF4-FFF2-40B4-BE49-F238E27FC236}">
                <a16:creationId xmlns:a16="http://schemas.microsoft.com/office/drawing/2014/main" id="{4F26D245-6B76-4B61-A7D7-51F5DE66A2BA}"/>
              </a:ext>
            </a:extLst>
          </p:cNvPr>
          <p:cNvGrpSpPr/>
          <p:nvPr/>
        </p:nvGrpSpPr>
        <p:grpSpPr>
          <a:xfrm>
            <a:off x="299922" y="4156482"/>
            <a:ext cx="11696235" cy="555231"/>
            <a:chOff x="299922" y="3374928"/>
            <a:chExt cx="11696235" cy="555231"/>
          </a:xfrm>
        </p:grpSpPr>
        <p:sp>
          <p:nvSpPr>
            <p:cNvPr id="128" name="Rectangle: Rounded Corners 127">
              <a:extLst>
                <a:ext uri="{FF2B5EF4-FFF2-40B4-BE49-F238E27FC236}">
                  <a16:creationId xmlns:a16="http://schemas.microsoft.com/office/drawing/2014/main" id="{6F16EBD6-6C97-4B1F-9F32-59588F590D7C}"/>
                </a:ext>
              </a:extLst>
            </p:cNvPr>
            <p:cNvSpPr/>
            <p:nvPr/>
          </p:nvSpPr>
          <p:spPr>
            <a:xfrm>
              <a:off x="299922" y="3388153"/>
              <a:ext cx="1376607" cy="542006"/>
            </a:xfrm>
            <a:prstGeom prst="roundRect">
              <a:avLst/>
            </a:prstGeom>
            <a:solidFill>
              <a:srgbClr val="FFFFFF">
                <a:lumMod val="95000"/>
              </a:srgbClr>
            </a:solidFill>
            <a:ln w="9525" cap="flat" cmpd="sng" algn="ctr">
              <a:noFill/>
              <a:prstDash val="solid"/>
            </a:ln>
            <a:effectLst/>
          </p:spPr>
          <p:txBody>
            <a:bodyPr rtlCol="0" anchor="ctr"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EYInterstate" panose="02000503020000020004" pitchFamily="2" charset="0"/>
                  <a:ea typeface="+mn-ea"/>
                  <a:cs typeface="+mn-cs"/>
                </a:rPr>
                <a:t>CVMS</a:t>
              </a:r>
            </a:p>
          </p:txBody>
        </p:sp>
        <p:grpSp>
          <p:nvGrpSpPr>
            <p:cNvPr id="137" name="Group 136">
              <a:extLst>
                <a:ext uri="{FF2B5EF4-FFF2-40B4-BE49-F238E27FC236}">
                  <a16:creationId xmlns:a16="http://schemas.microsoft.com/office/drawing/2014/main" id="{71AE2E7F-018B-487B-B3A9-5D2CEBF4924D}"/>
                </a:ext>
              </a:extLst>
            </p:cNvPr>
            <p:cNvGrpSpPr/>
            <p:nvPr/>
          </p:nvGrpSpPr>
          <p:grpSpPr>
            <a:xfrm>
              <a:off x="1905858" y="3374928"/>
              <a:ext cx="10090299" cy="545186"/>
              <a:chOff x="1720701" y="1315151"/>
              <a:chExt cx="10090299" cy="545186"/>
            </a:xfrm>
          </p:grpSpPr>
          <p:sp>
            <p:nvSpPr>
              <p:cNvPr id="138" name="Rectangle 137">
                <a:extLst>
                  <a:ext uri="{FF2B5EF4-FFF2-40B4-BE49-F238E27FC236}">
                    <a16:creationId xmlns:a16="http://schemas.microsoft.com/office/drawing/2014/main" id="{FCDD4A13-4A1F-4DBA-9718-03AFFDE3EE6B}"/>
                  </a:ext>
                </a:extLst>
              </p:cNvPr>
              <p:cNvSpPr/>
              <p:nvPr/>
            </p:nvSpPr>
            <p:spPr>
              <a:xfrm>
                <a:off x="1720701" y="1315151"/>
                <a:ext cx="10090299" cy="545186"/>
              </a:xfrm>
              <a:prstGeom prst="rect">
                <a:avLst/>
              </a:prstGeom>
              <a:solidFill>
                <a:srgbClr val="EAEAEA"/>
              </a:solidFill>
              <a:ln w="12700" cap="flat" cmpd="sng" algn="ctr">
                <a:solidFill>
                  <a:srgbClr val="EAEAEA"/>
                </a:solidFill>
                <a:prstDash val="solid"/>
                <a:miter lim="800000"/>
              </a:ln>
              <a:effectLst/>
            </p:spPr>
            <p:txBody>
              <a:bodyPr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139" name="Rectangle 138">
                <a:extLst>
                  <a:ext uri="{FF2B5EF4-FFF2-40B4-BE49-F238E27FC236}">
                    <a16:creationId xmlns:a16="http://schemas.microsoft.com/office/drawing/2014/main" id="{47816195-2E92-4820-B46C-E11B33F9B72D}"/>
                  </a:ext>
                </a:extLst>
              </p:cNvPr>
              <p:cNvSpPr/>
              <p:nvPr/>
            </p:nvSpPr>
            <p:spPr>
              <a:xfrm>
                <a:off x="1777957" y="1459920"/>
                <a:ext cx="9919478"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EYInterstate" panose="02000503020000020004" pitchFamily="2" charset="0"/>
                    <a:ea typeface="+mn-ea"/>
                    <a:cs typeface="+mn-cs"/>
                  </a:rPr>
                  <a:t>COVID-19 Vaccine Management System</a:t>
                </a:r>
                <a:endParaRPr kumimoji="0" lang="en-US" sz="1400" b="0" i="0" u="none" strike="noStrike" kern="0" cap="none" spc="0" normalizeH="0" baseline="0" noProof="0">
                  <a:ln>
                    <a:noFill/>
                  </a:ln>
                  <a:solidFill>
                    <a:prstClr val="black"/>
                  </a:solidFill>
                  <a:effectLst/>
                  <a:uLnTx/>
                  <a:uFillTx/>
                  <a:latin typeface="EYInterstate" panose="02000503020000020004" pitchFamily="2" charset="0"/>
                  <a:ea typeface="+mn-ea"/>
                  <a:cs typeface="Arial" panose="020B0604020202020204" pitchFamily="34" charset="0"/>
                </a:endParaRPr>
              </a:p>
            </p:txBody>
          </p:sp>
        </p:grpSp>
      </p:grpSp>
      <p:grpSp>
        <p:nvGrpSpPr>
          <p:cNvPr id="5" name="Group 4">
            <a:extLst>
              <a:ext uri="{FF2B5EF4-FFF2-40B4-BE49-F238E27FC236}">
                <a16:creationId xmlns:a16="http://schemas.microsoft.com/office/drawing/2014/main" id="{4E5AEFCC-397C-454C-AF42-24692D2BA761}"/>
              </a:ext>
            </a:extLst>
          </p:cNvPr>
          <p:cNvGrpSpPr/>
          <p:nvPr/>
        </p:nvGrpSpPr>
        <p:grpSpPr>
          <a:xfrm>
            <a:off x="299922" y="3181730"/>
            <a:ext cx="11696235" cy="579498"/>
            <a:chOff x="299922" y="2659554"/>
            <a:chExt cx="11696235" cy="579498"/>
          </a:xfrm>
        </p:grpSpPr>
        <p:sp>
          <p:nvSpPr>
            <p:cNvPr id="127" name="Rectangle: Rounded Corners 126">
              <a:extLst>
                <a:ext uri="{FF2B5EF4-FFF2-40B4-BE49-F238E27FC236}">
                  <a16:creationId xmlns:a16="http://schemas.microsoft.com/office/drawing/2014/main" id="{78043F49-EA84-4411-B967-7E63151FE422}"/>
                </a:ext>
              </a:extLst>
            </p:cNvPr>
            <p:cNvSpPr/>
            <p:nvPr/>
          </p:nvSpPr>
          <p:spPr>
            <a:xfrm>
              <a:off x="299922" y="2671663"/>
              <a:ext cx="1376607" cy="542006"/>
            </a:xfrm>
            <a:prstGeom prst="roundRect">
              <a:avLst/>
            </a:prstGeom>
            <a:solidFill>
              <a:srgbClr val="FFFFFF">
                <a:lumMod val="95000"/>
              </a:srgbClr>
            </a:solidFill>
            <a:ln w="9525" cap="flat" cmpd="sng" algn="ctr">
              <a:noFill/>
              <a:prstDash val="solid"/>
            </a:ln>
            <a:effectLst/>
          </p:spPr>
          <p:txBody>
            <a:bodyPr rtlCol="0" anchor="ctr"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EYInterstate" panose="02000503020000020004" pitchFamily="2" charset="0"/>
                  <a:ea typeface="+mn-ea"/>
                  <a:cs typeface="+mn-cs"/>
                </a:rPr>
                <a:t>ServiceNow /Helpdesk Portal</a:t>
              </a:r>
            </a:p>
          </p:txBody>
        </p:sp>
        <p:grpSp>
          <p:nvGrpSpPr>
            <p:cNvPr id="140" name="Group 139">
              <a:extLst>
                <a:ext uri="{FF2B5EF4-FFF2-40B4-BE49-F238E27FC236}">
                  <a16:creationId xmlns:a16="http://schemas.microsoft.com/office/drawing/2014/main" id="{B8E36F94-001A-48BB-ADA8-41759A388BD0}"/>
                </a:ext>
              </a:extLst>
            </p:cNvPr>
            <p:cNvGrpSpPr/>
            <p:nvPr/>
          </p:nvGrpSpPr>
          <p:grpSpPr>
            <a:xfrm>
              <a:off x="1905858" y="2659554"/>
              <a:ext cx="10090299" cy="579498"/>
              <a:chOff x="1720701" y="1315151"/>
              <a:chExt cx="10090299" cy="579498"/>
            </a:xfrm>
          </p:grpSpPr>
          <p:sp>
            <p:nvSpPr>
              <p:cNvPr id="141" name="Rectangle 140">
                <a:extLst>
                  <a:ext uri="{FF2B5EF4-FFF2-40B4-BE49-F238E27FC236}">
                    <a16:creationId xmlns:a16="http://schemas.microsoft.com/office/drawing/2014/main" id="{392EEA7A-F365-46E9-85A8-DF6F039B3772}"/>
                  </a:ext>
                </a:extLst>
              </p:cNvPr>
              <p:cNvSpPr/>
              <p:nvPr/>
            </p:nvSpPr>
            <p:spPr>
              <a:xfrm>
                <a:off x="1720701" y="1315151"/>
                <a:ext cx="10090299" cy="545186"/>
              </a:xfrm>
              <a:prstGeom prst="rect">
                <a:avLst/>
              </a:prstGeom>
              <a:solidFill>
                <a:srgbClr val="EAEAEA"/>
              </a:solidFill>
              <a:ln w="12700" cap="flat" cmpd="sng" algn="ctr">
                <a:solidFill>
                  <a:srgbClr val="EAEAEA"/>
                </a:solidFill>
                <a:prstDash val="solid"/>
                <a:miter lim="800000"/>
              </a:ln>
              <a:effectLst/>
            </p:spPr>
            <p:txBody>
              <a:bodyPr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142" name="Rectangle 141">
                <a:extLst>
                  <a:ext uri="{FF2B5EF4-FFF2-40B4-BE49-F238E27FC236}">
                    <a16:creationId xmlns:a16="http://schemas.microsoft.com/office/drawing/2014/main" id="{5F7B6FE6-0610-4289-B121-88E38F3563FD}"/>
                  </a:ext>
                </a:extLst>
              </p:cNvPr>
              <p:cNvSpPr/>
              <p:nvPr/>
            </p:nvSpPr>
            <p:spPr>
              <a:xfrm>
                <a:off x="1777957" y="1371429"/>
                <a:ext cx="9919478" cy="523220"/>
              </a:xfrm>
              <a:prstGeom prst="rect">
                <a:avLst/>
              </a:prstGeom>
            </p:spPr>
            <p:txBody>
              <a:bodyPr wrap="square">
                <a:spAutoFit/>
              </a:bodyPr>
              <a:lstStyle/>
              <a:p>
                <a:pPr lvl="0">
                  <a:defRPr/>
                </a:pPr>
                <a:r>
                  <a:rPr kumimoji="0" lang="en-US" sz="1400" b="0" i="0" u="none" strike="noStrike" kern="0" cap="none" spc="0" normalizeH="0" baseline="0" noProof="0">
                    <a:ln>
                      <a:noFill/>
                    </a:ln>
                    <a:solidFill>
                      <a:srgbClr val="000000"/>
                    </a:solidFill>
                    <a:effectLst/>
                    <a:uLnTx/>
                    <a:uFillTx/>
                    <a:latin typeface="EYInterstate" panose="02000503020000020004" pitchFamily="2" charset="0"/>
                    <a:ea typeface="+mn-ea"/>
                    <a:cs typeface="Arial" panose="020B0604020202020204" pitchFamily="34" charset="0"/>
                  </a:rPr>
                  <a:t>Online portal for </a:t>
                </a:r>
                <a:r>
                  <a:rPr lang="en-US" sz="1400" kern="0">
                    <a:solidFill>
                      <a:srgbClr val="000000"/>
                    </a:solidFill>
                    <a:latin typeface="EYInterstate" panose="02000503020000020004" pitchFamily="2" charset="0"/>
                    <a:cs typeface="Arial" panose="020B0604020202020204" pitchFamily="34" charset="0"/>
                  </a:rPr>
                  <a:t>submitting questions and provider</a:t>
                </a:r>
                <a:r>
                  <a:rPr kumimoji="0" lang="en-US" sz="1400" b="0" i="0" u="none" strike="noStrike" kern="0" cap="none" spc="0" normalizeH="0" baseline="0" noProof="0">
                    <a:ln>
                      <a:noFill/>
                    </a:ln>
                    <a:solidFill>
                      <a:srgbClr val="000000"/>
                    </a:solidFill>
                    <a:effectLst/>
                    <a:uLnTx/>
                    <a:uFillTx/>
                    <a:latin typeface="EYInterstate" panose="02000503020000020004" pitchFamily="2" charset="0"/>
                    <a:ea typeface="+mn-ea"/>
                    <a:cs typeface="Arial" panose="020B0604020202020204" pitchFamily="34" charset="0"/>
                  </a:rPr>
                  <a:t>/recipient information related to CVMS. ServiceNow is </a:t>
                </a:r>
                <a:r>
                  <a:rPr lang="en-US" sz="1400" kern="0">
                    <a:solidFill>
                      <a:srgbClr val="000000"/>
                    </a:solidFill>
                    <a:latin typeface="EYInterstate" panose="02000503020000020004" pitchFamily="2" charset="0"/>
                    <a:cs typeface="Arial" panose="020B0604020202020204" pitchFamily="34" charset="0"/>
                  </a:rPr>
                  <a:t>a separate system</a:t>
                </a:r>
                <a:r>
                  <a:rPr kumimoji="0" lang="en-US" sz="1400" b="0" i="0" u="none" strike="noStrike" kern="0" cap="none" spc="0" normalizeH="0" baseline="0" noProof="0">
                    <a:ln>
                      <a:noFill/>
                    </a:ln>
                    <a:solidFill>
                      <a:srgbClr val="000000"/>
                    </a:solidFill>
                    <a:effectLst/>
                    <a:uLnTx/>
                    <a:uFillTx/>
                    <a:latin typeface="EYInterstate" panose="02000503020000020004" pitchFamily="2" charset="0"/>
                    <a:ea typeface="+mn-ea"/>
                    <a:cs typeface="Arial" panose="020B0604020202020204" pitchFamily="34" charset="0"/>
                  </a:rPr>
                  <a:t> from CVMS and requires unique login credentials.</a:t>
                </a:r>
                <a:endParaRPr kumimoji="0" lang="en-US" sz="1400" b="0" i="0" u="none" strike="noStrike" kern="0" cap="none" spc="0" normalizeH="0" baseline="0" noProof="0">
                  <a:ln>
                    <a:noFill/>
                  </a:ln>
                  <a:solidFill>
                    <a:prstClr val="black"/>
                  </a:solidFill>
                  <a:effectLst/>
                  <a:uLnTx/>
                  <a:uFillTx/>
                  <a:latin typeface="EYInterstate" panose="02000503020000020004" pitchFamily="2" charset="0"/>
                  <a:ea typeface="+mn-ea"/>
                  <a:cs typeface="Arial" panose="020B0604020202020204" pitchFamily="34" charset="0"/>
                </a:endParaRPr>
              </a:p>
            </p:txBody>
          </p:sp>
        </p:grpSp>
      </p:grpSp>
      <p:grpSp>
        <p:nvGrpSpPr>
          <p:cNvPr id="10" name="Group 9">
            <a:extLst>
              <a:ext uri="{FF2B5EF4-FFF2-40B4-BE49-F238E27FC236}">
                <a16:creationId xmlns:a16="http://schemas.microsoft.com/office/drawing/2014/main" id="{33F389AE-3512-4F9C-AD82-F32BFE23D4A2}"/>
              </a:ext>
            </a:extLst>
          </p:cNvPr>
          <p:cNvGrpSpPr/>
          <p:nvPr/>
        </p:nvGrpSpPr>
        <p:grpSpPr>
          <a:xfrm>
            <a:off x="299922" y="5106966"/>
            <a:ext cx="11696235" cy="555231"/>
            <a:chOff x="309408" y="4104643"/>
            <a:chExt cx="11696235" cy="555231"/>
          </a:xfrm>
        </p:grpSpPr>
        <p:sp>
          <p:nvSpPr>
            <p:cNvPr id="23" name="Rectangle: Rounded Corners 22">
              <a:extLst>
                <a:ext uri="{FF2B5EF4-FFF2-40B4-BE49-F238E27FC236}">
                  <a16:creationId xmlns:a16="http://schemas.microsoft.com/office/drawing/2014/main" id="{3329D3F5-6ADF-48A0-AACB-ABFEE0F2B21B}"/>
                </a:ext>
              </a:extLst>
            </p:cNvPr>
            <p:cNvSpPr/>
            <p:nvPr/>
          </p:nvSpPr>
          <p:spPr>
            <a:xfrm>
              <a:off x="309408" y="4117868"/>
              <a:ext cx="1376607" cy="542006"/>
            </a:xfrm>
            <a:prstGeom prst="roundRect">
              <a:avLst/>
            </a:prstGeom>
            <a:solidFill>
              <a:srgbClr val="FFFFFF">
                <a:lumMod val="95000"/>
              </a:srgbClr>
            </a:solidFill>
            <a:ln w="9525" cap="flat" cmpd="sng" algn="ctr">
              <a:noFill/>
              <a:prstDash val="solid"/>
            </a:ln>
            <a:effectLst/>
          </p:spPr>
          <p:txBody>
            <a:bodyPr rtlCol="0" anchor="ctr"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0000"/>
                  </a:solidFill>
                  <a:effectLst/>
                  <a:uLnTx/>
                  <a:uFillTx/>
                  <a:latin typeface="EYInterstate" panose="02000503020000020004" pitchFamily="2" charset="0"/>
                  <a:ea typeface="+mn-ea"/>
                  <a:cs typeface="+mn-cs"/>
                </a:rPr>
                <a:t>HCP User Onboarding</a:t>
              </a:r>
            </a:p>
          </p:txBody>
        </p:sp>
        <p:grpSp>
          <p:nvGrpSpPr>
            <p:cNvPr id="24" name="Group 23">
              <a:extLst>
                <a:ext uri="{FF2B5EF4-FFF2-40B4-BE49-F238E27FC236}">
                  <a16:creationId xmlns:a16="http://schemas.microsoft.com/office/drawing/2014/main" id="{33C6457E-0F08-4D77-ABB6-BDC4A532B36B}"/>
                </a:ext>
              </a:extLst>
            </p:cNvPr>
            <p:cNvGrpSpPr/>
            <p:nvPr/>
          </p:nvGrpSpPr>
          <p:grpSpPr>
            <a:xfrm>
              <a:off x="1915344" y="4104643"/>
              <a:ext cx="10090299" cy="545186"/>
              <a:chOff x="1720701" y="1315151"/>
              <a:chExt cx="10090299" cy="545186"/>
            </a:xfrm>
          </p:grpSpPr>
          <p:sp>
            <p:nvSpPr>
              <p:cNvPr id="25" name="Rectangle 24">
                <a:extLst>
                  <a:ext uri="{FF2B5EF4-FFF2-40B4-BE49-F238E27FC236}">
                    <a16:creationId xmlns:a16="http://schemas.microsoft.com/office/drawing/2014/main" id="{5319982C-F52D-41EF-9299-3C474627C11E}"/>
                  </a:ext>
                </a:extLst>
              </p:cNvPr>
              <p:cNvSpPr/>
              <p:nvPr/>
            </p:nvSpPr>
            <p:spPr>
              <a:xfrm>
                <a:off x="1720701" y="1315151"/>
                <a:ext cx="10090299" cy="545186"/>
              </a:xfrm>
              <a:prstGeom prst="rect">
                <a:avLst/>
              </a:prstGeom>
              <a:solidFill>
                <a:srgbClr val="EAEAEA"/>
              </a:solidFill>
              <a:ln w="12700" cap="flat" cmpd="sng" algn="ctr">
                <a:solidFill>
                  <a:srgbClr val="EAEAEA"/>
                </a:solidFill>
                <a:prstDash val="solid"/>
                <a:miter lim="800000"/>
              </a:ln>
              <a:effectLst/>
            </p:spPr>
            <p:txBody>
              <a:bodyPr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
            <p:nvSpPr>
              <p:cNvPr id="26" name="Rectangle 25">
                <a:extLst>
                  <a:ext uri="{FF2B5EF4-FFF2-40B4-BE49-F238E27FC236}">
                    <a16:creationId xmlns:a16="http://schemas.microsoft.com/office/drawing/2014/main" id="{ABC872CB-415F-4A37-9F64-8BF5F389AB82}"/>
                  </a:ext>
                </a:extLst>
              </p:cNvPr>
              <p:cNvSpPr/>
              <p:nvPr/>
            </p:nvSpPr>
            <p:spPr>
              <a:xfrm>
                <a:off x="1746229" y="1326134"/>
                <a:ext cx="9919478"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EYInterstate" panose="02000503020000020004" pitchFamily="2" charset="0"/>
                    <a:ea typeface="+mn-ea"/>
                    <a:cs typeface="+mn-cs"/>
                  </a:rPr>
                  <a:t>The process of uploading the names of vaccine providers (individuals who will be administering the vaccine) for CVMS provisioning through the ServiceNow portal.</a:t>
                </a:r>
                <a:endParaRPr kumimoji="0" lang="en-US" sz="1400" b="0" i="0" u="none" strike="noStrike" kern="0" cap="none" spc="0" normalizeH="0" baseline="0" noProof="0">
                  <a:ln>
                    <a:noFill/>
                  </a:ln>
                  <a:solidFill>
                    <a:prstClr val="black"/>
                  </a:solidFill>
                  <a:effectLst/>
                  <a:uLnTx/>
                  <a:uFillTx/>
                  <a:latin typeface="EYInterstate" panose="02000503020000020004" pitchFamily="2" charset="0"/>
                  <a:ea typeface="+mn-ea"/>
                  <a:cs typeface="Arial" panose="020B0604020202020204" pitchFamily="34" charset="0"/>
                </a:endParaRPr>
              </a:p>
            </p:txBody>
          </p:sp>
        </p:grpSp>
      </p:grpSp>
    </p:spTree>
    <p:extLst>
      <p:ext uri="{BB962C8B-B14F-4D97-AF65-F5344CB8AC3E}">
        <p14:creationId xmlns:p14="http://schemas.microsoft.com/office/powerpoint/2010/main" val="31194175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F3BD51B-0D39-487F-8C5B-7CDAB112BBAB}"/>
              </a:ext>
            </a:extLst>
          </p:cNvPr>
          <p:cNvSpPr/>
          <p:nvPr/>
        </p:nvSpPr>
        <p:spPr>
          <a:xfrm>
            <a:off x="0" y="-1"/>
            <a:ext cx="12192000" cy="6115050"/>
          </a:xfrm>
          <a:prstGeom prst="rect">
            <a:avLst/>
          </a:prstGeom>
          <a:solidFill>
            <a:srgbClr val="6464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EYInterstate" panose="02000503020000020004" pitchFamily="2" charset="0"/>
              <a:ea typeface="+mn-ea"/>
              <a:cs typeface="+mn-cs"/>
            </a:endParaRPr>
          </a:p>
        </p:txBody>
      </p:sp>
      <p:graphicFrame>
        <p:nvGraphicFramePr>
          <p:cNvPr id="4" name="Object 3" hidden="1">
            <a:extLst>
              <a:ext uri="{FF2B5EF4-FFF2-40B4-BE49-F238E27FC236}">
                <a16:creationId xmlns:a16="http://schemas.microsoft.com/office/drawing/2014/main" id="{0954613E-E3F7-D44B-B1D7-C81E923F5BB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0954613E-E3F7-D44B-B1D7-C81E923F5BB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DD44C1A4-CC9D-4A4B-B32B-18DEC47A3A50}"/>
              </a:ext>
            </a:extLst>
          </p:cNvPr>
          <p:cNvSpPr txBox="1"/>
          <p:nvPr/>
        </p:nvSpPr>
        <p:spPr>
          <a:xfrm>
            <a:off x="864524" y="2734358"/>
            <a:ext cx="10238906" cy="1200329"/>
          </a:xfrm>
          <a:prstGeom prst="rect">
            <a:avLst/>
          </a:prstGeom>
          <a:noFill/>
        </p:spPr>
        <p:txBody>
          <a:bodyPr wrap="square" rtlCol="0">
            <a:spAutoFit/>
          </a:bodyPr>
          <a:lstStyle/>
          <a:p>
            <a:pPr lvl="0">
              <a:defRPr/>
            </a:pPr>
            <a:r>
              <a:rPr lang="en-US" sz="3600" b="1">
                <a:solidFill>
                  <a:prstClr val="white"/>
                </a:solidFill>
                <a:latin typeface="EYInterstate" panose="02000503020000020004" pitchFamily="2" charset="0"/>
              </a:rPr>
              <a:t>COVID-19 ServiceNow HCP User Onboarding and Recipient Bulk Upload</a:t>
            </a:r>
          </a:p>
        </p:txBody>
      </p:sp>
      <p:sp>
        <p:nvSpPr>
          <p:cNvPr id="5" name="TextBox 4">
            <a:extLst>
              <a:ext uri="{FF2B5EF4-FFF2-40B4-BE49-F238E27FC236}">
                <a16:creationId xmlns:a16="http://schemas.microsoft.com/office/drawing/2014/main" id="{DCDD0A90-3E45-4A7E-AD19-64D73FEF1191}"/>
              </a:ext>
            </a:extLst>
          </p:cNvPr>
          <p:cNvSpPr txBox="1"/>
          <p:nvPr/>
        </p:nvSpPr>
        <p:spPr>
          <a:xfrm>
            <a:off x="864524" y="3821931"/>
            <a:ext cx="3636829" cy="523220"/>
          </a:xfrm>
          <a:prstGeom prst="rect">
            <a:avLst/>
          </a:prstGeom>
          <a:noFill/>
        </p:spPr>
        <p:txBody>
          <a:bodyPr wrap="none" rtlCol="0">
            <a:spAutoFit/>
          </a:bodyPr>
          <a:lstStyle/>
          <a:p>
            <a:pPr lvl="0">
              <a:defRPr/>
            </a:pPr>
            <a:r>
              <a:rPr lang="en-US" sz="2800">
                <a:solidFill>
                  <a:prstClr val="white"/>
                </a:solidFill>
                <a:latin typeface="EYInterstate" panose="02000503020000020004" pitchFamily="2" charset="0"/>
              </a:rPr>
              <a:t>Registration Process</a:t>
            </a:r>
          </a:p>
        </p:txBody>
      </p:sp>
    </p:spTree>
    <p:extLst>
      <p:ext uri="{BB962C8B-B14F-4D97-AF65-F5344CB8AC3E}">
        <p14:creationId xmlns:p14="http://schemas.microsoft.com/office/powerpoint/2010/main" val="4506414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kumimoji="0" lang="en-US" sz="2000" b="1" i="0" u="none" strike="noStrike" kern="1200" cap="none" spc="0" normalizeH="0" baseline="0" noProof="0">
                <a:ln w="0">
                  <a:noFill/>
                </a:ln>
                <a:solidFill>
                  <a:srgbClr val="000000"/>
                </a:solidFill>
                <a:effectLst/>
                <a:uLnTx/>
                <a:uFillTx/>
                <a:latin typeface="EYInterstate"/>
                <a:ea typeface="+mj-ea"/>
                <a:cs typeface="Arial"/>
              </a:rPr>
              <a:t>Step </a:t>
            </a:r>
            <a:r>
              <a:rPr lang="en-US" sz="2000" b="1">
                <a:ln w="0">
                  <a:noFill/>
                </a:ln>
                <a:solidFill>
                  <a:srgbClr val="000000"/>
                </a:solidFill>
                <a:latin typeface="EYInterstate"/>
                <a:cs typeface="Arial"/>
              </a:rPr>
              <a:t>1</a:t>
            </a:r>
            <a:r>
              <a:rPr kumimoji="0" lang="en-US" sz="2000" b="1" i="0" u="none" strike="noStrike" kern="1200" cap="none" spc="0" normalizeH="0" baseline="0" noProof="0">
                <a:ln w="0">
                  <a:noFill/>
                </a:ln>
                <a:solidFill>
                  <a:srgbClr val="000000"/>
                </a:solidFill>
                <a:effectLst/>
                <a:uLnTx/>
                <a:uFillTx/>
                <a:latin typeface="EYInterstate"/>
                <a:ea typeface="+mj-ea"/>
                <a:cs typeface="Arial"/>
              </a:rPr>
              <a:t> of </a:t>
            </a:r>
            <a:r>
              <a:rPr lang="en-US" sz="2000" b="1">
                <a:ln w="0">
                  <a:noFill/>
                </a:ln>
                <a:solidFill>
                  <a:srgbClr val="000000"/>
                </a:solidFill>
                <a:latin typeface="EYInterstate"/>
                <a:cs typeface="Arial"/>
              </a:rPr>
              <a:t>11</a:t>
            </a:r>
            <a:r>
              <a:rPr kumimoji="0" lang="en-US" sz="2000" b="1" i="0" u="none" strike="noStrike" kern="1200" cap="none" spc="0" normalizeH="0" baseline="0" noProof="0">
                <a:ln w="0">
                  <a:noFill/>
                </a:ln>
                <a:solidFill>
                  <a:srgbClr val="000000"/>
                </a:solidFill>
                <a:effectLst/>
                <a:uLnTx/>
                <a:uFillTx/>
                <a:latin typeface="EYInterstate"/>
                <a:ea typeface="+mj-ea"/>
                <a:cs typeface="Arial"/>
              </a:rPr>
              <a:t>:</a:t>
            </a:r>
            <a:endParaRPr lang="en-US" sz="2000" b="1" i="0" u="none" strike="noStrike" kern="1200" cap="none" spc="0" normalizeH="0" baseline="0" noProof="0">
              <a:ln w="0">
                <a:noFill/>
              </a:ln>
              <a:solidFill>
                <a:srgbClr val="000000"/>
              </a:solidFill>
              <a:effectLst/>
              <a:uLnTx/>
              <a:uFillTx/>
              <a:latin typeface="EYInterstate"/>
              <a:cs typeface="Arial"/>
            </a:endParaRPr>
          </a:p>
        </p:txBody>
      </p:sp>
      <p:sp>
        <p:nvSpPr>
          <p:cNvPr id="11" name="Freeform 43">
            <a:extLst>
              <a:ext uri="{FF2B5EF4-FFF2-40B4-BE49-F238E27FC236}">
                <a16:creationId xmlns:a16="http://schemas.microsoft.com/office/drawing/2014/main" id="{F05B4A8E-78C0-42FA-AC31-D4D29053386D}"/>
              </a:ext>
            </a:extLst>
          </p:cNvPr>
          <p:cNvSpPr>
            <a:spLocks/>
          </p:cNvSpPr>
          <p:nvPr/>
        </p:nvSpPr>
        <p:spPr>
          <a:xfrm rot="5400000">
            <a:off x="6928233" y="3671288"/>
            <a:ext cx="5483425" cy="45719"/>
          </a:xfrm>
          <a:custGeom>
            <a:avLst/>
            <a:gdLst>
              <a:gd name="connsiteX0" fmla="*/ 0 w 11052722"/>
              <a:gd name="connsiteY0" fmla="*/ 0 h 120650"/>
              <a:gd name="connsiteX1" fmla="*/ 10692722 w 11052722"/>
              <a:gd name="connsiteY1" fmla="*/ 0 h 120650"/>
              <a:gd name="connsiteX2" fmla="*/ 10747924 w 11052722"/>
              <a:gd name="connsiteY2" fmla="*/ 0 h 120650"/>
              <a:gd name="connsiteX3" fmla="*/ 10992397 w 11052722"/>
              <a:gd name="connsiteY3" fmla="*/ 0 h 120650"/>
              <a:gd name="connsiteX4" fmla="*/ 11052722 w 11052722"/>
              <a:gd name="connsiteY4" fmla="*/ 60325 h 120650"/>
              <a:gd name="connsiteX5" fmla="*/ 10992397 w 11052722"/>
              <a:gd name="connsiteY5" fmla="*/ 120650 h 120650"/>
              <a:gd name="connsiteX6" fmla="*/ 10747924 w 11052722"/>
              <a:gd name="connsiteY6" fmla="*/ 120650 h 120650"/>
              <a:gd name="connsiteX7" fmla="*/ 10692722 w 11052722"/>
              <a:gd name="connsiteY7" fmla="*/ 120650 h 120650"/>
              <a:gd name="connsiteX8" fmla="*/ 0 w 11052722"/>
              <a:gd name="connsiteY8" fmla="*/ 120650 h 120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52722" h="120650">
                <a:moveTo>
                  <a:pt x="0" y="0"/>
                </a:moveTo>
                <a:lnTo>
                  <a:pt x="10692722" y="0"/>
                </a:lnTo>
                <a:lnTo>
                  <a:pt x="10747924" y="0"/>
                </a:lnTo>
                <a:lnTo>
                  <a:pt x="10992397" y="0"/>
                </a:lnTo>
                <a:lnTo>
                  <a:pt x="11052722" y="60325"/>
                </a:lnTo>
                <a:lnTo>
                  <a:pt x="10992397" y="120650"/>
                </a:lnTo>
                <a:lnTo>
                  <a:pt x="10747924" y="120650"/>
                </a:lnTo>
                <a:lnTo>
                  <a:pt x="10692722" y="120650"/>
                </a:lnTo>
                <a:lnTo>
                  <a:pt x="0" y="120650"/>
                </a:lnTo>
                <a:close/>
              </a:path>
            </a:pathLst>
          </a:custGeom>
          <a:solidFill>
            <a:schemeClr val="bg1">
              <a:lumMod val="8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 name="object 4">
            <a:extLst>
              <a:ext uri="{FF2B5EF4-FFF2-40B4-BE49-F238E27FC236}">
                <a16:creationId xmlns:a16="http://schemas.microsoft.com/office/drawing/2014/main" id="{97484700-38C9-49CC-AFE3-401E5C2E2E73}"/>
              </a:ext>
            </a:extLst>
          </p:cNvPr>
          <p:cNvSpPr txBox="1"/>
          <p:nvPr/>
        </p:nvSpPr>
        <p:spPr>
          <a:xfrm>
            <a:off x="356921" y="878820"/>
            <a:ext cx="8815445" cy="905954"/>
          </a:xfrm>
          <a:prstGeom prst="rect">
            <a:avLst/>
          </a:prstGeom>
        </p:spPr>
        <p:txBody>
          <a:bodyPr vert="horz" wrap="square" lIns="0" tIns="12700" rIns="0" bIns="0" rtlCol="0" anchor="t">
            <a:spAutoFit/>
          </a:bodyPr>
          <a:lstStyle/>
          <a:p>
            <a:pPr fontAlgn="base"/>
            <a:r>
              <a:rPr lang="en-US">
                <a:latin typeface="EYInterstate" panose="02000503020000020004" pitchFamily="2" charset="0"/>
              </a:rPr>
              <a:t>1. Go to </a:t>
            </a:r>
            <a:r>
              <a:rPr lang="en-US" u="sng">
                <a:latin typeface="EYInterstate" panose="02000503020000020004" pitchFamily="2" charset="0"/>
                <a:hlinkClick r:id="rId7"/>
              </a:rPr>
              <a:t>https://ncgov.servicenowservices.com/cms</a:t>
            </a:r>
            <a:r>
              <a:rPr lang="en-US" b="1" u="sng">
                <a:latin typeface="EYInterstate" panose="02000503020000020004" pitchFamily="2" charset="0"/>
                <a:hlinkClick r:id="rId7"/>
              </a:rPr>
              <a:t>_</a:t>
            </a:r>
            <a:r>
              <a:rPr lang="en-US" u="sng">
                <a:latin typeface="EYInterstate" panose="02000503020000020004" pitchFamily="2" charset="0"/>
                <a:hlinkClick r:id="rId7"/>
              </a:rPr>
              <a:t>vaccine/</a:t>
            </a:r>
            <a:r>
              <a:rPr lang="en-US">
                <a:latin typeface="EYInterstate" panose="02000503020000020004" pitchFamily="2" charset="0"/>
              </a:rPr>
              <a:t> to access the CVMS Helpdesk Portal.</a:t>
            </a:r>
          </a:p>
          <a:p>
            <a:pPr marL="12065" marR="5080" lvl="0" algn="l" defTabSz="457200" rtl="0" eaLnBrk="1" fontAlgn="auto" latinLnBrk="0" hangingPunct="1">
              <a:lnSpc>
                <a:spcPct val="150000"/>
              </a:lnSpc>
              <a:spcBef>
                <a:spcPts val="100"/>
              </a:spcBef>
              <a:spcAft>
                <a:spcPts val="0"/>
              </a:spcAft>
              <a:buClrTx/>
              <a:buSzTx/>
              <a:tabLst>
                <a:tab pos="241300" algn="l"/>
              </a:tabLst>
              <a:defRPr/>
            </a:pPr>
            <a:endParaRPr kumimoji="0" lang="en-US" sz="1600" b="0" i="0" u="none" strike="noStrike" kern="1200" cap="none" spc="0" normalizeH="0" baseline="0" noProof="0">
              <a:ln>
                <a:noFill/>
              </a:ln>
              <a:solidFill>
                <a:srgbClr val="000000"/>
              </a:solidFill>
              <a:effectLst/>
              <a:uLnTx/>
              <a:uFillTx/>
              <a:latin typeface="EYInterstate" panose="02000503020000020004" pitchFamily="2" charset="0"/>
            </a:endParaRPr>
          </a:p>
        </p:txBody>
      </p:sp>
      <p:sp>
        <p:nvSpPr>
          <p:cNvPr id="25" name="Rectangle 24">
            <a:extLst>
              <a:ext uri="{FF2B5EF4-FFF2-40B4-BE49-F238E27FC236}">
                <a16:creationId xmlns:a16="http://schemas.microsoft.com/office/drawing/2014/main" id="{62E2E481-4606-4BD4-8D5E-F25AB30BF51F}"/>
              </a:ext>
            </a:extLst>
          </p:cNvPr>
          <p:cNvSpPr/>
          <p:nvPr/>
        </p:nvSpPr>
        <p:spPr>
          <a:xfrm>
            <a:off x="6281879" y="4682616"/>
            <a:ext cx="1425556" cy="46203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E6B17F7D-B21E-4888-915F-C4D114275924}"/>
              </a:ext>
            </a:extLst>
          </p:cNvPr>
          <p:cNvSpPr/>
          <p:nvPr/>
        </p:nvSpPr>
        <p:spPr>
          <a:xfrm>
            <a:off x="9722650" y="982220"/>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Audience</a:t>
            </a:r>
          </a:p>
        </p:txBody>
      </p:sp>
      <p:pic>
        <p:nvPicPr>
          <p:cNvPr id="4" name="Picture 3">
            <a:extLst>
              <a:ext uri="{FF2B5EF4-FFF2-40B4-BE49-F238E27FC236}">
                <a16:creationId xmlns:a16="http://schemas.microsoft.com/office/drawing/2014/main" id="{4093A9C8-A302-4410-A45F-19CEEA873A0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2994" y="1843404"/>
            <a:ext cx="8729372" cy="4050647"/>
          </a:xfrm>
          <a:prstGeom prst="rect">
            <a:avLst/>
          </a:prstGeom>
          <a:ln w="28575">
            <a:solidFill>
              <a:schemeClr val="tx1"/>
            </a:solidFill>
          </a:ln>
        </p:spPr>
      </p:pic>
      <p:sp>
        <p:nvSpPr>
          <p:cNvPr id="13" name="Rectangle 12">
            <a:extLst>
              <a:ext uri="{FF2B5EF4-FFF2-40B4-BE49-F238E27FC236}">
                <a16:creationId xmlns:a16="http://schemas.microsoft.com/office/drawing/2014/main" id="{42D75159-AC27-42CC-A006-432169A36FDC}"/>
              </a:ext>
            </a:extLst>
          </p:cNvPr>
          <p:cNvSpPr/>
          <p:nvPr/>
        </p:nvSpPr>
        <p:spPr>
          <a:xfrm>
            <a:off x="9868365" y="1424231"/>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Providers</a:t>
            </a:r>
          </a:p>
        </p:txBody>
      </p:sp>
    </p:spTree>
    <p:extLst>
      <p:ext uri="{BB962C8B-B14F-4D97-AF65-F5344CB8AC3E}">
        <p14:creationId xmlns:p14="http://schemas.microsoft.com/office/powerpoint/2010/main" val="14472216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kumimoji="0" lang="en-US" sz="2000" b="1" i="0" u="none" strike="noStrike" kern="1200" cap="none" spc="0" normalizeH="0" baseline="0" noProof="0">
                <a:ln w="0">
                  <a:noFill/>
                </a:ln>
                <a:solidFill>
                  <a:srgbClr val="000000"/>
                </a:solidFill>
                <a:effectLst/>
                <a:uLnTx/>
                <a:uFillTx/>
                <a:latin typeface="EYInterstate"/>
                <a:ea typeface="+mj-ea"/>
                <a:cs typeface="Arial"/>
              </a:rPr>
              <a:t>Step 2 of </a:t>
            </a:r>
            <a:r>
              <a:rPr lang="en-US" sz="2000" b="1">
                <a:ln w="0">
                  <a:noFill/>
                </a:ln>
                <a:solidFill>
                  <a:srgbClr val="000000"/>
                </a:solidFill>
                <a:latin typeface="EYInterstate"/>
                <a:cs typeface="Arial"/>
              </a:rPr>
              <a:t>11</a:t>
            </a:r>
            <a:r>
              <a:rPr kumimoji="0" lang="en-US" sz="2000" b="1" i="0" u="none" strike="noStrike" kern="1200" cap="none" spc="0" normalizeH="0" baseline="0" noProof="0">
                <a:ln w="0">
                  <a:noFill/>
                </a:ln>
                <a:solidFill>
                  <a:srgbClr val="000000"/>
                </a:solidFill>
                <a:effectLst/>
                <a:uLnTx/>
                <a:uFillTx/>
                <a:latin typeface="EYInterstate"/>
                <a:ea typeface="+mj-ea"/>
                <a:cs typeface="Arial"/>
              </a:rPr>
              <a:t>:</a:t>
            </a:r>
            <a:endParaRPr lang="en-US" sz="2000" b="1" i="0" u="none" strike="noStrike" kern="1200" cap="none" spc="0" normalizeH="0" baseline="0" noProof="0">
              <a:ln w="0">
                <a:noFill/>
              </a:ln>
              <a:solidFill>
                <a:srgbClr val="000000"/>
              </a:solidFill>
              <a:effectLst/>
              <a:uLnTx/>
              <a:uFillTx/>
              <a:latin typeface="EYInterstate"/>
              <a:cs typeface="Arial"/>
            </a:endParaRPr>
          </a:p>
        </p:txBody>
      </p:sp>
      <p:sp>
        <p:nvSpPr>
          <p:cNvPr id="11" name="Freeform 43">
            <a:extLst>
              <a:ext uri="{FF2B5EF4-FFF2-40B4-BE49-F238E27FC236}">
                <a16:creationId xmlns:a16="http://schemas.microsoft.com/office/drawing/2014/main" id="{F05B4A8E-78C0-42FA-AC31-D4D29053386D}"/>
              </a:ext>
            </a:extLst>
          </p:cNvPr>
          <p:cNvSpPr>
            <a:spLocks/>
          </p:cNvSpPr>
          <p:nvPr/>
        </p:nvSpPr>
        <p:spPr>
          <a:xfrm rot="5400000">
            <a:off x="6928233" y="3671288"/>
            <a:ext cx="5483425" cy="45719"/>
          </a:xfrm>
          <a:custGeom>
            <a:avLst/>
            <a:gdLst>
              <a:gd name="connsiteX0" fmla="*/ 0 w 11052722"/>
              <a:gd name="connsiteY0" fmla="*/ 0 h 120650"/>
              <a:gd name="connsiteX1" fmla="*/ 10692722 w 11052722"/>
              <a:gd name="connsiteY1" fmla="*/ 0 h 120650"/>
              <a:gd name="connsiteX2" fmla="*/ 10747924 w 11052722"/>
              <a:gd name="connsiteY2" fmla="*/ 0 h 120650"/>
              <a:gd name="connsiteX3" fmla="*/ 10992397 w 11052722"/>
              <a:gd name="connsiteY3" fmla="*/ 0 h 120650"/>
              <a:gd name="connsiteX4" fmla="*/ 11052722 w 11052722"/>
              <a:gd name="connsiteY4" fmla="*/ 60325 h 120650"/>
              <a:gd name="connsiteX5" fmla="*/ 10992397 w 11052722"/>
              <a:gd name="connsiteY5" fmla="*/ 120650 h 120650"/>
              <a:gd name="connsiteX6" fmla="*/ 10747924 w 11052722"/>
              <a:gd name="connsiteY6" fmla="*/ 120650 h 120650"/>
              <a:gd name="connsiteX7" fmla="*/ 10692722 w 11052722"/>
              <a:gd name="connsiteY7" fmla="*/ 120650 h 120650"/>
              <a:gd name="connsiteX8" fmla="*/ 0 w 11052722"/>
              <a:gd name="connsiteY8" fmla="*/ 120650 h 120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52722" h="120650">
                <a:moveTo>
                  <a:pt x="0" y="0"/>
                </a:moveTo>
                <a:lnTo>
                  <a:pt x="10692722" y="0"/>
                </a:lnTo>
                <a:lnTo>
                  <a:pt x="10747924" y="0"/>
                </a:lnTo>
                <a:lnTo>
                  <a:pt x="10992397" y="0"/>
                </a:lnTo>
                <a:lnTo>
                  <a:pt x="11052722" y="60325"/>
                </a:lnTo>
                <a:lnTo>
                  <a:pt x="10992397" y="120650"/>
                </a:lnTo>
                <a:lnTo>
                  <a:pt x="10747924" y="120650"/>
                </a:lnTo>
                <a:lnTo>
                  <a:pt x="10692722" y="120650"/>
                </a:lnTo>
                <a:lnTo>
                  <a:pt x="0" y="120650"/>
                </a:lnTo>
                <a:close/>
              </a:path>
            </a:pathLst>
          </a:custGeom>
          <a:solidFill>
            <a:schemeClr val="bg1">
              <a:lumMod val="8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F82660D4-174E-494B-8138-62CC2BD92056}"/>
              </a:ext>
            </a:extLst>
          </p:cNvPr>
          <p:cNvSpPr txBox="1"/>
          <p:nvPr/>
        </p:nvSpPr>
        <p:spPr>
          <a:xfrm>
            <a:off x="9868365" y="2399497"/>
            <a:ext cx="1946503" cy="1585049"/>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panose="02000503020000020004" pitchFamily="2" charset="0"/>
              </a:rPr>
              <a:t>Note</a:t>
            </a:r>
          </a:p>
          <a:p>
            <a:pPr lvl="0">
              <a:spcAft>
                <a:spcPts val="600"/>
              </a:spcAft>
              <a:buClr>
                <a:srgbClr val="4472C4"/>
              </a:buClr>
              <a:buSzPct val="70000"/>
              <a:defRPr/>
            </a:pPr>
            <a:r>
              <a:rPr lang="en-US" sz="1400">
                <a:latin typeface="EYInterstate" panose="02000503020000020004" pitchFamily="2" charset="0"/>
              </a:rPr>
              <a:t>This account is specific to the Helpdesk Portal and is NOT related to your CVMS log-in information or your NCID. </a:t>
            </a:r>
            <a:endParaRPr lang="en-US" sz="1400" i="0" u="none" strike="noStrike" kern="1200" cap="none" spc="0" normalizeH="0" baseline="0" noProof="0">
              <a:ln>
                <a:noFill/>
              </a:ln>
              <a:solidFill>
                <a:srgbClr val="000000"/>
              </a:solidFill>
              <a:effectLst/>
              <a:uLnTx/>
              <a:uFillTx/>
              <a:latin typeface="EYInterstate" panose="02000503020000020004" pitchFamily="2" charset="0"/>
            </a:endParaRPr>
          </a:p>
        </p:txBody>
      </p:sp>
      <p:sp>
        <p:nvSpPr>
          <p:cNvPr id="21" name="object 4">
            <a:extLst>
              <a:ext uri="{FF2B5EF4-FFF2-40B4-BE49-F238E27FC236}">
                <a16:creationId xmlns:a16="http://schemas.microsoft.com/office/drawing/2014/main" id="{97484700-38C9-49CC-AFE3-401E5C2E2E73}"/>
              </a:ext>
            </a:extLst>
          </p:cNvPr>
          <p:cNvSpPr txBox="1"/>
          <p:nvPr/>
        </p:nvSpPr>
        <p:spPr>
          <a:xfrm>
            <a:off x="356921" y="878820"/>
            <a:ext cx="8815445" cy="2782813"/>
          </a:xfrm>
          <a:prstGeom prst="rect">
            <a:avLst/>
          </a:prstGeom>
        </p:spPr>
        <p:txBody>
          <a:bodyPr vert="horz" wrap="square" lIns="0" tIns="12700" rIns="0" bIns="0" rtlCol="0" anchor="t">
            <a:spAutoFit/>
          </a:bodyPr>
          <a:lstStyle/>
          <a:p>
            <a:pPr fontAlgn="base"/>
            <a:r>
              <a:rPr lang="en-US">
                <a:latin typeface="EYInterstate" panose="02000503020000020004" pitchFamily="2" charset="0"/>
              </a:rPr>
              <a:t>If this is your first time submitting a ticket via the Helpdesk Portal, you must Register for an account. This can be done by selecting the </a:t>
            </a:r>
            <a:r>
              <a:rPr lang="en-US" b="1">
                <a:latin typeface="EYInterstate" panose="02000503020000020004" pitchFamily="2" charset="0"/>
              </a:rPr>
              <a:t>Register </a:t>
            </a:r>
            <a:r>
              <a:rPr lang="en-US">
                <a:latin typeface="EYInterstate" panose="02000503020000020004" pitchFamily="2" charset="0"/>
              </a:rPr>
              <a:t>button in the top-right corner of your screen.</a:t>
            </a:r>
          </a:p>
          <a:p>
            <a:pPr fontAlgn="base"/>
            <a:r>
              <a:rPr lang="en-US" b="1">
                <a:latin typeface="EYInterstate" panose="02000503020000020004" pitchFamily="2" charset="0"/>
              </a:rPr>
              <a:t>Note: This account is specific to the Helpdesk Portal and will require you to create a new account (username and password). This account is NOT related to your CVMS log-in information or your NCID. </a:t>
            </a:r>
            <a:endParaRPr lang="en-US" b="1">
              <a:solidFill>
                <a:srgbClr val="000000"/>
              </a:solidFill>
              <a:latin typeface="EYInterstate" panose="02000503020000020004" pitchFamily="2" charset="0"/>
            </a:endParaRPr>
          </a:p>
          <a:p>
            <a:pPr fontAlgn="base"/>
            <a:endParaRPr lang="en-US" b="1">
              <a:latin typeface="EYInterstate" panose="02000503020000020004" pitchFamily="2" charset="0"/>
            </a:endParaRPr>
          </a:p>
          <a:p>
            <a:pPr fontAlgn="base"/>
            <a:endParaRPr lang="en-US">
              <a:latin typeface="EYInterstate" panose="02000503020000020004" pitchFamily="2" charset="0"/>
            </a:endParaRPr>
          </a:p>
          <a:p>
            <a:pPr fontAlgn="base"/>
            <a:r>
              <a:rPr lang="en-US">
                <a:latin typeface="EYInterstate" panose="02000503020000020004" pitchFamily="2" charset="0"/>
              </a:rPr>
              <a:t>If you have already registered for a Helpdesk Portal account, please skip to Step 5 to login. </a:t>
            </a:r>
          </a:p>
        </p:txBody>
      </p:sp>
      <p:sp>
        <p:nvSpPr>
          <p:cNvPr id="12" name="Rectangle 11">
            <a:extLst>
              <a:ext uri="{FF2B5EF4-FFF2-40B4-BE49-F238E27FC236}">
                <a16:creationId xmlns:a16="http://schemas.microsoft.com/office/drawing/2014/main" id="{E6B17F7D-B21E-4888-915F-C4D114275924}"/>
              </a:ext>
            </a:extLst>
          </p:cNvPr>
          <p:cNvSpPr/>
          <p:nvPr/>
        </p:nvSpPr>
        <p:spPr>
          <a:xfrm>
            <a:off x="9722650" y="982220"/>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Audience</a:t>
            </a:r>
          </a:p>
        </p:txBody>
      </p:sp>
      <p:sp>
        <p:nvSpPr>
          <p:cNvPr id="14" name="Rectangle 13">
            <a:extLst>
              <a:ext uri="{FF2B5EF4-FFF2-40B4-BE49-F238E27FC236}">
                <a16:creationId xmlns:a16="http://schemas.microsoft.com/office/drawing/2014/main" id="{C8790A2E-14EC-431A-8D3D-A0C0112FFD41}"/>
              </a:ext>
            </a:extLst>
          </p:cNvPr>
          <p:cNvSpPr/>
          <p:nvPr/>
        </p:nvSpPr>
        <p:spPr>
          <a:xfrm>
            <a:off x="9858015" y="1403117"/>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Providers</a:t>
            </a:r>
          </a:p>
        </p:txBody>
      </p:sp>
      <p:grpSp>
        <p:nvGrpSpPr>
          <p:cNvPr id="2" name="Group 1">
            <a:extLst>
              <a:ext uri="{FF2B5EF4-FFF2-40B4-BE49-F238E27FC236}">
                <a16:creationId xmlns:a16="http://schemas.microsoft.com/office/drawing/2014/main" id="{5857A596-44B1-4D86-BCC9-1A84DCE3534C}"/>
              </a:ext>
            </a:extLst>
          </p:cNvPr>
          <p:cNvGrpSpPr/>
          <p:nvPr/>
        </p:nvGrpSpPr>
        <p:grpSpPr>
          <a:xfrm>
            <a:off x="422078" y="3903674"/>
            <a:ext cx="8685129" cy="2590801"/>
            <a:chOff x="487237" y="3598874"/>
            <a:chExt cx="8685129" cy="2590801"/>
          </a:xfrm>
        </p:grpSpPr>
        <p:pic>
          <p:nvPicPr>
            <p:cNvPr id="13" name="Picture 12">
              <a:extLst>
                <a:ext uri="{FF2B5EF4-FFF2-40B4-BE49-F238E27FC236}">
                  <a16:creationId xmlns:a16="http://schemas.microsoft.com/office/drawing/2014/main" id="{CBB0D70F-FC1F-44BE-878C-4B51F5433A63}"/>
                </a:ext>
              </a:extLst>
            </p:cNvPr>
            <p:cNvPicPr/>
            <p:nvPr/>
          </p:nvPicPr>
          <p:blipFill rotWithShape="1">
            <a:blip r:embed="rId7" cstate="print">
              <a:extLst>
                <a:ext uri="{28A0092B-C50C-407E-A947-70E740481C1C}">
                  <a14:useLocalDpi xmlns:a14="http://schemas.microsoft.com/office/drawing/2010/main" val="0"/>
                </a:ext>
              </a:extLst>
            </a:blip>
            <a:srcRect t="6865" b="55928"/>
            <a:stretch/>
          </p:blipFill>
          <p:spPr bwMode="auto">
            <a:xfrm>
              <a:off x="487237" y="3598874"/>
              <a:ext cx="8685129" cy="2590801"/>
            </a:xfrm>
            <a:prstGeom prst="rect">
              <a:avLst/>
            </a:prstGeom>
            <a:noFill/>
            <a:ln w="28575">
              <a:solidFill>
                <a:schemeClr val="tx1"/>
              </a:solidFill>
            </a:ln>
            <a:extLst>
              <a:ext uri="{53640926-AAD7-44D8-BBD7-CCE9431645EC}">
                <a14:shadowObscured xmlns:a14="http://schemas.microsoft.com/office/drawing/2010/main"/>
              </a:ext>
            </a:extLst>
          </p:spPr>
        </p:pic>
        <p:sp>
          <p:nvSpPr>
            <p:cNvPr id="25" name="Rectangle 24">
              <a:extLst>
                <a:ext uri="{FF2B5EF4-FFF2-40B4-BE49-F238E27FC236}">
                  <a16:creationId xmlns:a16="http://schemas.microsoft.com/office/drawing/2014/main" id="{62E2E481-4606-4BD4-8D5E-F25AB30BF51F}"/>
                </a:ext>
              </a:extLst>
            </p:cNvPr>
            <p:cNvSpPr/>
            <p:nvPr/>
          </p:nvSpPr>
          <p:spPr>
            <a:xfrm>
              <a:off x="8161859" y="3694147"/>
              <a:ext cx="683620" cy="47363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5408387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D87B6DF-8191-464E-AB7E-121E7BA1636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DD87B6DF-8191-464E-AB7E-121E7BA1636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11">
            <a:extLst>
              <a:ext uri="{FF2B5EF4-FFF2-40B4-BE49-F238E27FC236}">
                <a16:creationId xmlns:a16="http://schemas.microsoft.com/office/drawing/2014/main" id="{62CA0B21-B744-FE43-A932-81C21120730C}"/>
              </a:ext>
            </a:extLst>
          </p:cNvPr>
          <p:cNvSpPr txBox="1">
            <a:spLocks/>
          </p:cNvSpPr>
          <p:nvPr/>
        </p:nvSpPr>
        <p:spPr>
          <a:xfrm>
            <a:off x="253934" y="16009"/>
            <a:ext cx="11474771" cy="71905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1" i="0" u="none" strike="noStrike" kern="1200" cap="none" spc="0" normalizeH="0" baseline="0" noProof="0">
                <a:ln w="0">
                  <a:noFill/>
                </a:ln>
                <a:solidFill>
                  <a:srgbClr val="000000"/>
                </a:solidFill>
                <a:effectLst/>
                <a:uLnTx/>
                <a:uFillTx/>
                <a:latin typeface="EYInterstate"/>
                <a:ea typeface="+mj-ea"/>
                <a:cs typeface="Arial"/>
              </a:rPr>
              <a:t>Step 3 of 11: </a:t>
            </a:r>
            <a:r>
              <a:rPr lang="en-US" sz="2000" b="1">
                <a:ln w="0">
                  <a:noFill/>
                </a:ln>
                <a:solidFill>
                  <a:srgbClr val="000000"/>
                </a:solidFill>
                <a:latin typeface="EYInterstate"/>
                <a:cs typeface="Arial"/>
              </a:rPr>
              <a:t>Complete Registration Form</a:t>
            </a:r>
            <a:endParaRPr kumimoji="0" lang="en-US" sz="2000" b="1" i="0" u="none" strike="noStrike" kern="1200" cap="none" spc="0" normalizeH="0" baseline="0" noProof="0">
              <a:ln w="0">
                <a:noFill/>
              </a:ln>
              <a:solidFill>
                <a:srgbClr val="000000"/>
              </a:solidFill>
              <a:effectLst/>
              <a:uLnTx/>
              <a:uFillTx/>
              <a:latin typeface="EYInterstate"/>
              <a:ea typeface="+mj-ea"/>
              <a:cs typeface="Arial"/>
            </a:endParaRPr>
          </a:p>
        </p:txBody>
      </p:sp>
      <p:sp>
        <p:nvSpPr>
          <p:cNvPr id="21" name="object 4">
            <a:extLst>
              <a:ext uri="{FF2B5EF4-FFF2-40B4-BE49-F238E27FC236}">
                <a16:creationId xmlns:a16="http://schemas.microsoft.com/office/drawing/2014/main" id="{97484700-38C9-49CC-AFE3-401E5C2E2E73}"/>
              </a:ext>
            </a:extLst>
          </p:cNvPr>
          <p:cNvSpPr txBox="1"/>
          <p:nvPr/>
        </p:nvSpPr>
        <p:spPr>
          <a:xfrm>
            <a:off x="526566" y="978014"/>
            <a:ext cx="9125745" cy="2274982"/>
          </a:xfrm>
          <a:prstGeom prst="rect">
            <a:avLst/>
          </a:prstGeom>
        </p:spPr>
        <p:txBody>
          <a:bodyPr vert="horz" wrap="square" lIns="0" tIns="12700" rIns="0" bIns="0" rtlCol="0" anchor="t">
            <a:spAutoFit/>
          </a:bodyPr>
          <a:lstStyle/>
          <a:p>
            <a:pPr marL="12065" marR="5080" defTabSz="457200">
              <a:spcAft>
                <a:spcPts val="600"/>
              </a:spcAft>
              <a:tabLst>
                <a:tab pos="241300" algn="l"/>
              </a:tabLst>
              <a:defRPr/>
            </a:pPr>
            <a:r>
              <a:rPr lang="en-US">
                <a:latin typeface="EYInterstate" panose="02000503020000020004" pitchFamily="2" charset="0"/>
              </a:rPr>
              <a:t>Fill out the Customer Registration form. </a:t>
            </a:r>
          </a:p>
          <a:p>
            <a:pPr marL="12065" marR="5080" defTabSz="457200">
              <a:spcAft>
                <a:spcPts val="600"/>
              </a:spcAft>
              <a:tabLst>
                <a:tab pos="241300" algn="l"/>
              </a:tabLst>
              <a:defRPr/>
            </a:pPr>
            <a:r>
              <a:rPr lang="en-US">
                <a:latin typeface="EYInterstate" panose="02000503020000020004" pitchFamily="2" charset="0"/>
              </a:rPr>
              <a:t>Then, check the box next to the Terms and Conditions and click </a:t>
            </a:r>
            <a:r>
              <a:rPr lang="en-US" b="1">
                <a:latin typeface="EYInterstate" panose="02000503020000020004" pitchFamily="2" charset="0"/>
              </a:rPr>
              <a:t>Submit</a:t>
            </a:r>
            <a:r>
              <a:rPr lang="en-US">
                <a:latin typeface="EYInterstate" panose="02000503020000020004" pitchFamily="2" charset="0"/>
              </a:rPr>
              <a:t>.</a:t>
            </a:r>
          </a:p>
          <a:p>
            <a:pPr marL="12065" marR="5080" defTabSz="457200">
              <a:spcAft>
                <a:spcPts val="600"/>
              </a:spcAft>
              <a:tabLst>
                <a:tab pos="241300" algn="l"/>
              </a:tabLst>
              <a:defRPr/>
            </a:pPr>
            <a:endParaRPr lang="en-US" sz="1600">
              <a:latin typeface="EYInterstate" panose="02000503020000020004" pitchFamily="2" charset="0"/>
            </a:endParaRPr>
          </a:p>
          <a:p>
            <a:pPr marL="12065" marR="5080" defTabSz="457200">
              <a:spcAft>
                <a:spcPts val="600"/>
              </a:spcAft>
              <a:tabLst>
                <a:tab pos="241300" algn="l"/>
              </a:tabLst>
              <a:defRPr/>
            </a:pPr>
            <a:r>
              <a:rPr lang="en-US" sz="1600" b="1">
                <a:latin typeface="EYInterstate" panose="02000503020000020004" pitchFamily="2" charset="0"/>
              </a:rPr>
              <a:t>Note: </a:t>
            </a:r>
            <a:r>
              <a:rPr lang="en-US" sz="1600">
                <a:latin typeface="EYInterstate" panose="02000503020000020004" pitchFamily="2" charset="0"/>
              </a:rPr>
              <a:t>Your Registration Code is your Provider PIN. It can be found on the packing lists received with your Vaccines For Children shipments, or in the top right-hand corner of a wasted / expired report generated from the North Carolina Immunization Registry (please add “NCA” to the front of the six digit PIN#). If you do not know your Registration Code, please use “VAC2021” as the code.</a:t>
            </a:r>
            <a:endParaRPr lang="en-US" sz="1200">
              <a:solidFill>
                <a:srgbClr val="000000"/>
              </a:solidFill>
              <a:latin typeface="EYInterstate" panose="02000503020000020004" pitchFamily="2" charset="0"/>
            </a:endParaRPr>
          </a:p>
        </p:txBody>
      </p:sp>
      <p:sp>
        <p:nvSpPr>
          <p:cNvPr id="11" name="Rectangle 10">
            <a:extLst>
              <a:ext uri="{FF2B5EF4-FFF2-40B4-BE49-F238E27FC236}">
                <a16:creationId xmlns:a16="http://schemas.microsoft.com/office/drawing/2014/main" id="{51C3714E-5162-4CE1-A8B9-2B1A19D944D9}"/>
              </a:ext>
            </a:extLst>
          </p:cNvPr>
          <p:cNvSpPr/>
          <p:nvPr/>
        </p:nvSpPr>
        <p:spPr>
          <a:xfrm>
            <a:off x="9722650" y="982220"/>
            <a:ext cx="2315761" cy="307777"/>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a:ea typeface="+mn-ea"/>
                <a:cs typeface="+mn-cs"/>
              </a:rPr>
              <a:t>Audience</a:t>
            </a:r>
          </a:p>
        </p:txBody>
      </p:sp>
      <p:sp>
        <p:nvSpPr>
          <p:cNvPr id="14" name="Rectangle 13">
            <a:extLst>
              <a:ext uri="{FF2B5EF4-FFF2-40B4-BE49-F238E27FC236}">
                <a16:creationId xmlns:a16="http://schemas.microsoft.com/office/drawing/2014/main" id="{95F0D1EB-18E1-4500-AAE6-A4CD090D37E8}"/>
              </a:ext>
            </a:extLst>
          </p:cNvPr>
          <p:cNvSpPr/>
          <p:nvPr/>
        </p:nvSpPr>
        <p:spPr>
          <a:xfrm>
            <a:off x="9858015" y="1403117"/>
            <a:ext cx="1232453" cy="507602"/>
          </a:xfrm>
          <a:prstGeom prst="rect">
            <a:avLst/>
          </a:prstGeom>
          <a:solidFill>
            <a:schemeClr val="accent6">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1926"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tx1"/>
                </a:solidFill>
                <a:effectLst/>
                <a:uLnTx/>
                <a:uFillTx/>
                <a:latin typeface="EYInterstate"/>
                <a:ea typeface="+mn-ea"/>
                <a:cs typeface="+mn-cs"/>
              </a:rPr>
              <a:t>Healthcare Providers</a:t>
            </a:r>
          </a:p>
        </p:txBody>
      </p:sp>
      <p:grpSp>
        <p:nvGrpSpPr>
          <p:cNvPr id="2" name="Group 1">
            <a:extLst>
              <a:ext uri="{FF2B5EF4-FFF2-40B4-BE49-F238E27FC236}">
                <a16:creationId xmlns:a16="http://schemas.microsoft.com/office/drawing/2014/main" id="{880B5967-A79A-4D49-8B9B-D2AC3BBB4366}"/>
              </a:ext>
            </a:extLst>
          </p:cNvPr>
          <p:cNvGrpSpPr/>
          <p:nvPr/>
        </p:nvGrpSpPr>
        <p:grpSpPr>
          <a:xfrm>
            <a:off x="567597" y="3429000"/>
            <a:ext cx="8507564" cy="3148272"/>
            <a:chOff x="596905" y="3060464"/>
            <a:chExt cx="8507564" cy="3148272"/>
          </a:xfrm>
        </p:grpSpPr>
        <p:pic>
          <p:nvPicPr>
            <p:cNvPr id="5" name="Picture 4">
              <a:extLst>
                <a:ext uri="{FF2B5EF4-FFF2-40B4-BE49-F238E27FC236}">
                  <a16:creationId xmlns:a16="http://schemas.microsoft.com/office/drawing/2014/main" id="{E66544D9-C1F9-4C10-90DD-DE9E0668C7FA}"/>
                </a:ext>
              </a:extLst>
            </p:cNvPr>
            <p:cNvPicPr>
              <a:picLocks noChangeAspect="1"/>
            </p:cNvPicPr>
            <p:nvPr/>
          </p:nvPicPr>
          <p:blipFill rotWithShape="1">
            <a:blip r:embed="rId7">
              <a:extLst>
                <a:ext uri="{28A0092B-C50C-407E-A947-70E740481C1C}">
                  <a14:useLocalDpi xmlns:a14="http://schemas.microsoft.com/office/drawing/2010/main" val="0"/>
                </a:ext>
              </a:extLst>
            </a:blip>
            <a:srcRect r="18820"/>
            <a:stretch/>
          </p:blipFill>
          <p:spPr>
            <a:xfrm>
              <a:off x="596905" y="3060464"/>
              <a:ext cx="8507564" cy="3148272"/>
            </a:xfrm>
            <a:prstGeom prst="rect">
              <a:avLst/>
            </a:prstGeom>
            <a:ln w="28575">
              <a:solidFill>
                <a:schemeClr val="tx1"/>
              </a:solidFill>
            </a:ln>
          </p:spPr>
        </p:pic>
        <p:sp>
          <p:nvSpPr>
            <p:cNvPr id="9" name="Rectangle 8">
              <a:extLst>
                <a:ext uri="{FF2B5EF4-FFF2-40B4-BE49-F238E27FC236}">
                  <a16:creationId xmlns:a16="http://schemas.microsoft.com/office/drawing/2014/main" id="{1E1D05F2-3A92-41A2-9372-4C03111F3C28}"/>
                </a:ext>
              </a:extLst>
            </p:cNvPr>
            <p:cNvSpPr/>
            <p:nvPr/>
          </p:nvSpPr>
          <p:spPr>
            <a:xfrm>
              <a:off x="704616" y="5730626"/>
              <a:ext cx="715812" cy="36787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 name="Circle: Hollow 5">
            <a:extLst>
              <a:ext uri="{FF2B5EF4-FFF2-40B4-BE49-F238E27FC236}">
                <a16:creationId xmlns:a16="http://schemas.microsoft.com/office/drawing/2014/main" id="{2D03F89E-1217-4356-9D14-50696E5191F6}"/>
              </a:ext>
            </a:extLst>
          </p:cNvPr>
          <p:cNvSpPr/>
          <p:nvPr/>
        </p:nvSpPr>
        <p:spPr>
          <a:xfrm>
            <a:off x="1899138" y="5281246"/>
            <a:ext cx="1441939" cy="322385"/>
          </a:xfrm>
          <a:prstGeom prst="donut">
            <a:avLst>
              <a:gd name="adj" fmla="val 5000"/>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TextBox 14">
            <a:extLst>
              <a:ext uri="{FF2B5EF4-FFF2-40B4-BE49-F238E27FC236}">
                <a16:creationId xmlns:a16="http://schemas.microsoft.com/office/drawing/2014/main" id="{F9C9E9EA-8C91-4B96-AC9F-F43BFCB83BCF}"/>
              </a:ext>
            </a:extLst>
          </p:cNvPr>
          <p:cNvSpPr txBox="1"/>
          <p:nvPr/>
        </p:nvSpPr>
        <p:spPr>
          <a:xfrm>
            <a:off x="9868365" y="2399497"/>
            <a:ext cx="1946503" cy="3954929"/>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600"/>
              </a:spcAft>
              <a:buClr>
                <a:srgbClr val="4472C4"/>
              </a:buClr>
              <a:buSzPct val="70000"/>
              <a:buFontTx/>
              <a:buNone/>
              <a:tabLst/>
              <a:defRPr/>
            </a:pPr>
            <a:r>
              <a:rPr kumimoji="0" lang="en-US" sz="1400" b="1" i="0" u="none" strike="noStrike" kern="1200" cap="none" spc="0" normalizeH="0" baseline="0" noProof="0">
                <a:ln>
                  <a:noFill/>
                </a:ln>
                <a:solidFill>
                  <a:srgbClr val="000000"/>
                </a:solidFill>
                <a:effectLst/>
                <a:uLnTx/>
                <a:uFillTx/>
                <a:latin typeface="EYInterstate" panose="02000503020000020004" pitchFamily="2" charset="0"/>
              </a:rPr>
              <a:t>Note</a:t>
            </a:r>
          </a:p>
          <a:p>
            <a:pPr lvl="0">
              <a:spcAft>
                <a:spcPts val="600"/>
              </a:spcAft>
              <a:buClr>
                <a:srgbClr val="4472C4"/>
              </a:buClr>
              <a:buSzPct val="70000"/>
              <a:defRPr/>
            </a:pPr>
            <a:r>
              <a:rPr lang="en-US" sz="1400">
                <a:latin typeface="EYInterstate" panose="02000503020000020004" pitchFamily="2" charset="0"/>
              </a:rPr>
              <a:t>If you are planning on submitting HCP Users for multiple locations, please just pick one </a:t>
            </a:r>
            <a:r>
              <a:rPr lang="en-US" sz="1400" b="1">
                <a:latin typeface="EYInterstate" panose="02000503020000020004" pitchFamily="2" charset="0"/>
              </a:rPr>
              <a:t>Registration Code </a:t>
            </a:r>
            <a:r>
              <a:rPr lang="en-US" sz="1400">
                <a:latin typeface="EYInterstate" panose="02000503020000020004" pitchFamily="2" charset="0"/>
              </a:rPr>
              <a:t>to use for your Helpdesk Portal account. You will be able to submit HCP User Onboarding templates for multiple facilities even though the facilities have different </a:t>
            </a:r>
            <a:r>
              <a:rPr lang="en-US" sz="1400" b="1">
                <a:latin typeface="EYInterstate" panose="02000503020000020004" pitchFamily="2" charset="0"/>
              </a:rPr>
              <a:t>Registration Codes.</a:t>
            </a:r>
            <a:r>
              <a:rPr lang="en-US" sz="1400">
                <a:latin typeface="EYInterstate" panose="02000503020000020004" pitchFamily="2" charset="0"/>
              </a:rPr>
              <a:t> You can also use the generic </a:t>
            </a:r>
            <a:r>
              <a:rPr lang="en-US" sz="1400" b="1">
                <a:latin typeface="EYInterstate" panose="02000503020000020004" pitchFamily="2" charset="0"/>
              </a:rPr>
              <a:t>“VAC2021” code </a:t>
            </a:r>
            <a:r>
              <a:rPr lang="en-US" sz="1400">
                <a:latin typeface="EYInterstate" panose="02000503020000020004" pitchFamily="2" charset="0"/>
              </a:rPr>
              <a:t>instead.</a:t>
            </a:r>
            <a:endParaRPr lang="en-US" sz="1400" i="0" u="none" strike="noStrike" kern="1200" cap="none" spc="0" normalizeH="0" baseline="0" noProof="0">
              <a:ln>
                <a:noFill/>
              </a:ln>
              <a:solidFill>
                <a:srgbClr val="000000"/>
              </a:solidFill>
              <a:effectLst/>
              <a:uLnTx/>
              <a:uFillTx/>
              <a:latin typeface="EYInterstate" panose="02000503020000020004" pitchFamily="2" charset="0"/>
            </a:endParaRPr>
          </a:p>
        </p:txBody>
      </p:sp>
    </p:spTree>
    <p:extLst>
      <p:ext uri="{BB962C8B-B14F-4D97-AF65-F5344CB8AC3E}">
        <p14:creationId xmlns:p14="http://schemas.microsoft.com/office/powerpoint/2010/main" val="37736994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4042674D9E715409B97947C644B0284" ma:contentTypeVersion="10" ma:contentTypeDescription="Create a new document." ma:contentTypeScope="" ma:versionID="3ccfe82fa0e79ae242a378b6c128bd09">
  <xsd:schema xmlns:xsd="http://www.w3.org/2001/XMLSchema" xmlns:xs="http://www.w3.org/2001/XMLSchema" xmlns:p="http://schemas.microsoft.com/office/2006/metadata/properties" xmlns:ns2="e519310d-fb73-46d5-9f91-9df25b56a055" xmlns:ns3="74d61543-0b61-4671-82ca-38c443c70a24" targetNamespace="http://schemas.microsoft.com/office/2006/metadata/properties" ma:root="true" ma:fieldsID="b0d9a48a7874222db239bd03cb52788d" ns2:_="" ns3:_="">
    <xsd:import namespace="e519310d-fb73-46d5-9f91-9df25b56a055"/>
    <xsd:import namespace="74d61543-0b61-4671-82ca-38c443c70a24"/>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Notes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19310d-fb73-46d5-9f91-9df25b56a055"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4d61543-0b61-4671-82ca-38c443c70a24"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Notes0" ma:index="17" nillable="true" ma:displayName="Notes" ma:internalName="Notes0">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Notes0 xmlns="74d61543-0b61-4671-82ca-38c443c70a24" xsi:nil="true"/>
  </documentManagement>
</p:properties>
</file>

<file path=customXml/itemProps1.xml><?xml version="1.0" encoding="utf-8"?>
<ds:datastoreItem xmlns:ds="http://schemas.openxmlformats.org/officeDocument/2006/customXml" ds:itemID="{C02D7AF8-6F20-4F00-A5DC-503406AE4D40}">
  <ds:schemaRefs>
    <ds:schemaRef ds:uri="http://schemas.microsoft.com/sharepoint/v3/contenttype/forms"/>
  </ds:schemaRefs>
</ds:datastoreItem>
</file>

<file path=customXml/itemProps2.xml><?xml version="1.0" encoding="utf-8"?>
<ds:datastoreItem xmlns:ds="http://schemas.openxmlformats.org/officeDocument/2006/customXml" ds:itemID="{5626F4F9-3FCC-43CC-9CF7-2A7E192222B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19310d-fb73-46d5-9f91-9df25b56a055"/>
    <ds:schemaRef ds:uri="74d61543-0b61-4671-82ca-38c443c70a2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CDF7F75-3E67-43C3-8DEE-2CF8F7370505}">
  <ds:schemaRefs>
    <ds:schemaRef ds:uri="http://purl.org/dc/elements/1.1/"/>
    <ds:schemaRef ds:uri="http://schemas.openxmlformats.org/package/2006/metadata/core-properties"/>
    <ds:schemaRef ds:uri="http://www.w3.org/XML/1998/namespace"/>
    <ds:schemaRef ds:uri="http://purl.org/dc/terms/"/>
    <ds:schemaRef ds:uri="e519310d-fb73-46d5-9f91-9df25b56a055"/>
    <ds:schemaRef ds:uri="74d61543-0b61-4671-82ca-38c443c70a24"/>
    <ds:schemaRef ds:uri="http://schemas.microsoft.com/office/2006/documentManagement/types"/>
    <ds:schemaRef ds:uri="http://schemas.microsoft.com/office/2006/metadata/properties"/>
    <ds:schemaRef ds:uri="http://schemas.microsoft.com/office/infopath/2007/PartnerControls"/>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0</TotalTime>
  <Words>1876</Words>
  <Application>Microsoft Office PowerPoint</Application>
  <PresentationFormat>Widescreen</PresentationFormat>
  <Paragraphs>238</Paragraphs>
  <Slides>27</Slides>
  <Notes>26</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7</vt:i4>
      </vt:variant>
    </vt:vector>
  </HeadingPairs>
  <TitlesOfParts>
    <vt:vector size="36" baseType="lpstr">
      <vt:lpstr>Arial</vt:lpstr>
      <vt:lpstr>Calibri</vt:lpstr>
      <vt:lpstr>Calibri Light</vt:lpstr>
      <vt:lpstr>Century Gothic</vt:lpstr>
      <vt:lpstr>EYInterstate</vt:lpstr>
      <vt:lpstr>EYInterstate Light</vt:lpstr>
      <vt:lpstr>Office Theme</vt:lpstr>
      <vt:lpstr>1_office theme</vt:lpstr>
      <vt:lpstr>think-cell Slide</vt:lpstr>
      <vt:lpstr>North Carolina COVID-19 Vaccine Management System  CVMS HCP Onboarding and Recipient Bulk Submission  User Gu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rth Carolina COVID-19 Vaccine Management System  CVMS HCP Onboarding and Recipient Bulk Upload User Guide</dc:title>
  <dc:creator>Gracie A Chewning</dc:creator>
  <cp:lastModifiedBy>Crystel Leonidas</cp:lastModifiedBy>
  <cp:revision>1</cp:revision>
  <dcterms:created xsi:type="dcterms:W3CDTF">2021-01-27T22:34:13Z</dcterms:created>
  <dcterms:modified xsi:type="dcterms:W3CDTF">2021-02-02T01:08: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042674D9E715409B97947C644B0284</vt:lpwstr>
  </property>
</Properties>
</file>